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83" r:id="rId5"/>
  </p:sldMasterIdLst>
  <p:notesMasterIdLst>
    <p:notesMasterId r:id="rId28"/>
  </p:notesMasterIdLst>
  <p:sldIdLst>
    <p:sldId id="702" r:id="rId6"/>
    <p:sldId id="283" r:id="rId7"/>
    <p:sldId id="4657" r:id="rId8"/>
    <p:sldId id="1880" r:id="rId9"/>
    <p:sldId id="2771" r:id="rId10"/>
    <p:sldId id="9844" r:id="rId11"/>
    <p:sldId id="4654" r:id="rId12"/>
    <p:sldId id="4631" r:id="rId13"/>
    <p:sldId id="4632" r:id="rId14"/>
    <p:sldId id="4633" r:id="rId15"/>
    <p:sldId id="4634" r:id="rId16"/>
    <p:sldId id="4637" r:id="rId17"/>
    <p:sldId id="9843" r:id="rId18"/>
    <p:sldId id="1842" r:id="rId19"/>
    <p:sldId id="4691" r:id="rId20"/>
    <p:sldId id="9845" r:id="rId21"/>
    <p:sldId id="9846" r:id="rId22"/>
    <p:sldId id="10106" r:id="rId23"/>
    <p:sldId id="4692" r:id="rId24"/>
    <p:sldId id="4694" r:id="rId25"/>
    <p:sldId id="4656" r:id="rId26"/>
    <p:sldId id="1532" r:id="rId2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achel Kellam" initials="RK" lastIdx="25" clrIdx="0">
    <p:extLst>
      <p:ext uri="{19B8F6BF-5375-455C-9EA6-DF929625EA0E}">
        <p15:presenceInfo xmlns:p15="http://schemas.microsoft.com/office/powerpoint/2012/main" userId="S::t-rake@microsoft.com::618c9a5b-2076-476b-822c-4ce88f1a625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3A681C3-8DED-4DEF-BBBB-C85E676F4AFA}" v="398" dt="2019-03-14T16:52:16.16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7628" autoAdjust="0"/>
    <p:restoredTop sz="94660"/>
  </p:normalViewPr>
  <p:slideViewPr>
    <p:cSldViewPr snapToGrid="0">
      <p:cViewPr varScale="1">
        <p:scale>
          <a:sx n="103" d="100"/>
          <a:sy n="103" d="100"/>
        </p:scale>
        <p:origin x="1332" y="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microsoft.com/office/2016/11/relationships/changesInfo" Target="changesInfos/changesInfo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presProps" Target="presProps.xml"/><Relationship Id="rId35"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ilesh Acharya" userId="9277199a-575d-4236-be7e-064ee6acc11b" providerId="ADAL" clId="{83A681C3-8DED-4DEF-BBBB-C85E676F4AFA}"/>
    <pc:docChg chg="undo redo custSel mod addSld delSld modSld sldOrd delMainMaster">
      <pc:chgData name="Nilesh Acharya" userId="9277199a-575d-4236-be7e-064ee6acc11b" providerId="ADAL" clId="{83A681C3-8DED-4DEF-BBBB-C85E676F4AFA}" dt="2019-03-14T16:52:16.164" v="1410" actId="20577"/>
      <pc:docMkLst>
        <pc:docMk/>
      </pc:docMkLst>
      <pc:sldChg chg="addSp delSp modSp mod setBg">
        <pc:chgData name="Nilesh Acharya" userId="9277199a-575d-4236-be7e-064ee6acc11b" providerId="ADAL" clId="{83A681C3-8DED-4DEF-BBBB-C85E676F4AFA}" dt="2019-03-01T20:21:58.752" v="5" actId="26606"/>
        <pc:sldMkLst>
          <pc:docMk/>
          <pc:sldMk cId="3799496209" sldId="283"/>
        </pc:sldMkLst>
        <pc:spChg chg="del">
          <ac:chgData name="Nilesh Acharya" userId="9277199a-575d-4236-be7e-064ee6acc11b" providerId="ADAL" clId="{83A681C3-8DED-4DEF-BBBB-C85E676F4AFA}" dt="2019-03-01T20:21:46.426" v="0" actId="931"/>
          <ac:spMkLst>
            <pc:docMk/>
            <pc:sldMk cId="3799496209" sldId="283"/>
            <ac:spMk id="3" creationId="{20BF9959-4F39-4F6F-B931-DB875E93EBF2}"/>
          </ac:spMkLst>
        </pc:spChg>
        <pc:spChg chg="mod">
          <ac:chgData name="Nilesh Acharya" userId="9277199a-575d-4236-be7e-064ee6acc11b" providerId="ADAL" clId="{83A681C3-8DED-4DEF-BBBB-C85E676F4AFA}" dt="2019-03-01T20:21:58.752" v="5" actId="26606"/>
          <ac:spMkLst>
            <pc:docMk/>
            <pc:sldMk cId="3799496209" sldId="283"/>
            <ac:spMk id="10" creationId="{00000000-0000-0000-0000-000000000000}"/>
          </ac:spMkLst>
        </pc:spChg>
        <pc:spChg chg="mod">
          <ac:chgData name="Nilesh Acharya" userId="9277199a-575d-4236-be7e-064ee6acc11b" providerId="ADAL" clId="{83A681C3-8DED-4DEF-BBBB-C85E676F4AFA}" dt="2019-03-01T20:21:58.752" v="5" actId="26606"/>
          <ac:spMkLst>
            <pc:docMk/>
            <pc:sldMk cId="3799496209" sldId="283"/>
            <ac:spMk id="16" creationId="{00000000-0000-0000-0000-000000000000}"/>
          </ac:spMkLst>
        </pc:spChg>
        <pc:spChg chg="add del">
          <ac:chgData name="Nilesh Acharya" userId="9277199a-575d-4236-be7e-064ee6acc11b" providerId="ADAL" clId="{83A681C3-8DED-4DEF-BBBB-C85E676F4AFA}" dt="2019-03-01T20:21:58.734" v="4" actId="26606"/>
          <ac:spMkLst>
            <pc:docMk/>
            <pc:sldMk cId="3799496209" sldId="283"/>
            <ac:spMk id="21" creationId="{4038CB10-1F5C-4D54-9DF7-12586DE5B007}"/>
          </ac:spMkLst>
        </pc:spChg>
        <pc:spChg chg="add del">
          <ac:chgData name="Nilesh Acharya" userId="9277199a-575d-4236-be7e-064ee6acc11b" providerId="ADAL" clId="{83A681C3-8DED-4DEF-BBBB-C85E676F4AFA}" dt="2019-03-01T20:21:58.734" v="4" actId="26606"/>
          <ac:spMkLst>
            <pc:docMk/>
            <pc:sldMk cId="3799496209" sldId="283"/>
            <ac:spMk id="23" creationId="{73ED6512-6858-4552-B699-9A97FE9A4EA2}"/>
          </ac:spMkLst>
        </pc:spChg>
        <pc:picChg chg="add mod ord">
          <ac:chgData name="Nilesh Acharya" userId="9277199a-575d-4236-be7e-064ee6acc11b" providerId="ADAL" clId="{83A681C3-8DED-4DEF-BBBB-C85E676F4AFA}" dt="2019-03-01T20:21:58.752" v="5" actId="26606"/>
          <ac:picMkLst>
            <pc:docMk/>
            <pc:sldMk cId="3799496209" sldId="283"/>
            <ac:picMk id="4" creationId="{CB4B5CCE-E3F0-40A8-8ADE-22403304755D}"/>
          </ac:picMkLst>
        </pc:picChg>
        <pc:cxnChg chg="add">
          <ac:chgData name="Nilesh Acharya" userId="9277199a-575d-4236-be7e-064ee6acc11b" providerId="ADAL" clId="{83A681C3-8DED-4DEF-BBBB-C85E676F4AFA}" dt="2019-03-01T20:21:58.752" v="5" actId="26606"/>
          <ac:cxnSpMkLst>
            <pc:docMk/>
            <pc:sldMk cId="3799496209" sldId="283"/>
            <ac:cxnSpMk id="25" creationId="{E4A809D5-3600-46D4-A466-67F2349A54FB}"/>
          </ac:cxnSpMkLst>
        </pc:cxnChg>
      </pc:sldChg>
      <pc:sldChg chg="addSp modSp">
        <pc:chgData name="Nilesh Acharya" userId="9277199a-575d-4236-be7e-064ee6acc11b" providerId="ADAL" clId="{83A681C3-8DED-4DEF-BBBB-C85E676F4AFA}" dt="2019-03-05T22:28:07.218" v="1222" actId="1076"/>
        <pc:sldMkLst>
          <pc:docMk/>
          <pc:sldMk cId="3291958941" sldId="702"/>
        </pc:sldMkLst>
        <pc:spChg chg="add mod">
          <ac:chgData name="Nilesh Acharya" userId="9277199a-575d-4236-be7e-064ee6acc11b" providerId="ADAL" clId="{83A681C3-8DED-4DEF-BBBB-C85E676F4AFA}" dt="2019-03-05T22:28:07.218" v="1222" actId="1076"/>
          <ac:spMkLst>
            <pc:docMk/>
            <pc:sldMk cId="3291958941" sldId="702"/>
            <ac:spMk id="4" creationId="{F108F7F4-9CDD-40C7-868E-11029F74ED25}"/>
          </ac:spMkLst>
        </pc:spChg>
        <pc:spChg chg="add mod">
          <ac:chgData name="Nilesh Acharya" userId="9277199a-575d-4236-be7e-064ee6acc11b" providerId="ADAL" clId="{83A681C3-8DED-4DEF-BBBB-C85E676F4AFA}" dt="2019-03-05T06:06:40.487" v="1208" actId="1076"/>
          <ac:spMkLst>
            <pc:docMk/>
            <pc:sldMk cId="3291958941" sldId="702"/>
            <ac:spMk id="5" creationId="{7BD52640-6C01-46D7-A6F3-13DAB8C874F3}"/>
          </ac:spMkLst>
        </pc:spChg>
        <pc:spChg chg="mod">
          <ac:chgData name="Nilesh Acharya" userId="9277199a-575d-4236-be7e-064ee6acc11b" providerId="ADAL" clId="{83A681C3-8DED-4DEF-BBBB-C85E676F4AFA}" dt="2019-03-05T06:06:36.668" v="1207" actId="1076"/>
          <ac:spMkLst>
            <pc:docMk/>
            <pc:sldMk cId="3291958941" sldId="702"/>
            <ac:spMk id="6" creationId="{89024464-2345-4CA1-B522-C55BC130E663}"/>
          </ac:spMkLst>
        </pc:spChg>
        <pc:picChg chg="add mod">
          <ac:chgData name="Nilesh Acharya" userId="9277199a-575d-4236-be7e-064ee6acc11b" providerId="ADAL" clId="{83A681C3-8DED-4DEF-BBBB-C85E676F4AFA}" dt="2019-03-05T22:27:49.406" v="1210" actId="1076"/>
          <ac:picMkLst>
            <pc:docMk/>
            <pc:sldMk cId="3291958941" sldId="702"/>
            <ac:picMk id="3" creationId="{7E6C2A02-F9E6-459E-935A-4B724C286C17}"/>
          </ac:picMkLst>
        </pc:picChg>
      </pc:sldChg>
      <pc:sldChg chg="del">
        <pc:chgData name="Nilesh Acharya" userId="9277199a-575d-4236-be7e-064ee6acc11b" providerId="ADAL" clId="{83A681C3-8DED-4DEF-BBBB-C85E676F4AFA}" dt="2019-03-01T20:27:11.872" v="21" actId="2696"/>
        <pc:sldMkLst>
          <pc:docMk/>
          <pc:sldMk cId="4126733126" sldId="1830"/>
        </pc:sldMkLst>
      </pc:sldChg>
      <pc:sldChg chg="delSp modSp add">
        <pc:chgData name="Nilesh Acharya" userId="9277199a-575d-4236-be7e-064ee6acc11b" providerId="ADAL" clId="{83A681C3-8DED-4DEF-BBBB-C85E676F4AFA}" dt="2019-03-01T23:54:47.601" v="1022" actId="478"/>
        <pc:sldMkLst>
          <pc:docMk/>
          <pc:sldMk cId="2835925552" sldId="1842"/>
        </pc:sldMkLst>
        <pc:spChg chg="mod">
          <ac:chgData name="Nilesh Acharya" userId="9277199a-575d-4236-be7e-064ee6acc11b" providerId="ADAL" clId="{83A681C3-8DED-4DEF-BBBB-C85E676F4AFA}" dt="2019-03-01T23:54:44.278" v="1020" actId="207"/>
          <ac:spMkLst>
            <pc:docMk/>
            <pc:sldMk cId="2835925552" sldId="1842"/>
            <ac:spMk id="35" creationId="{1890448B-A96C-45D2-9793-830161AC51BF}"/>
          </ac:spMkLst>
        </pc:spChg>
        <pc:spChg chg="mod">
          <ac:chgData name="Nilesh Acharya" userId="9277199a-575d-4236-be7e-064ee6acc11b" providerId="ADAL" clId="{83A681C3-8DED-4DEF-BBBB-C85E676F4AFA}" dt="2019-03-01T23:54:44.278" v="1020" actId="207"/>
          <ac:spMkLst>
            <pc:docMk/>
            <pc:sldMk cId="2835925552" sldId="1842"/>
            <ac:spMk id="36" creationId="{F58C420A-3AEC-4BE5-BD90-C854A306696C}"/>
          </ac:spMkLst>
        </pc:spChg>
        <pc:spChg chg="mod">
          <ac:chgData name="Nilesh Acharya" userId="9277199a-575d-4236-be7e-064ee6acc11b" providerId="ADAL" clId="{83A681C3-8DED-4DEF-BBBB-C85E676F4AFA}" dt="2019-03-01T23:54:44.278" v="1020" actId="207"/>
          <ac:spMkLst>
            <pc:docMk/>
            <pc:sldMk cId="2835925552" sldId="1842"/>
            <ac:spMk id="44" creationId="{056960D0-0A22-4E28-82F3-B9AA805E96A4}"/>
          </ac:spMkLst>
        </pc:spChg>
        <pc:spChg chg="mod">
          <ac:chgData name="Nilesh Acharya" userId="9277199a-575d-4236-be7e-064ee6acc11b" providerId="ADAL" clId="{83A681C3-8DED-4DEF-BBBB-C85E676F4AFA}" dt="2019-03-01T23:54:44.278" v="1020" actId="207"/>
          <ac:spMkLst>
            <pc:docMk/>
            <pc:sldMk cId="2835925552" sldId="1842"/>
            <ac:spMk id="46" creationId="{27325661-92B1-4FD6-80E6-C1A1C5F5B8BA}"/>
          </ac:spMkLst>
        </pc:spChg>
        <pc:spChg chg="mod">
          <ac:chgData name="Nilesh Acharya" userId="9277199a-575d-4236-be7e-064ee6acc11b" providerId="ADAL" clId="{83A681C3-8DED-4DEF-BBBB-C85E676F4AFA}" dt="2019-03-01T23:54:44.278" v="1020" actId="207"/>
          <ac:spMkLst>
            <pc:docMk/>
            <pc:sldMk cId="2835925552" sldId="1842"/>
            <ac:spMk id="48" creationId="{C32C294C-1590-42EF-AA55-43D984432B57}"/>
          </ac:spMkLst>
        </pc:spChg>
        <pc:spChg chg="mod">
          <ac:chgData name="Nilesh Acharya" userId="9277199a-575d-4236-be7e-064ee6acc11b" providerId="ADAL" clId="{83A681C3-8DED-4DEF-BBBB-C85E676F4AFA}" dt="2019-03-01T23:54:44.278" v="1020" actId="207"/>
          <ac:spMkLst>
            <pc:docMk/>
            <pc:sldMk cId="2835925552" sldId="1842"/>
            <ac:spMk id="49" creationId="{7AEBBE7F-98BB-4059-8F15-7198C7DAC337}"/>
          </ac:spMkLst>
        </pc:spChg>
        <pc:spChg chg="mod">
          <ac:chgData name="Nilesh Acharya" userId="9277199a-575d-4236-be7e-064ee6acc11b" providerId="ADAL" clId="{83A681C3-8DED-4DEF-BBBB-C85E676F4AFA}" dt="2019-03-01T23:54:44.278" v="1020" actId="207"/>
          <ac:spMkLst>
            <pc:docMk/>
            <pc:sldMk cId="2835925552" sldId="1842"/>
            <ac:spMk id="51" creationId="{0F0E443A-F987-4A67-86AD-557D61E47992}"/>
          </ac:spMkLst>
        </pc:spChg>
        <pc:spChg chg="mod">
          <ac:chgData name="Nilesh Acharya" userId="9277199a-575d-4236-be7e-064ee6acc11b" providerId="ADAL" clId="{83A681C3-8DED-4DEF-BBBB-C85E676F4AFA}" dt="2019-03-01T23:54:44.278" v="1020" actId="207"/>
          <ac:spMkLst>
            <pc:docMk/>
            <pc:sldMk cId="2835925552" sldId="1842"/>
            <ac:spMk id="53" creationId="{34535CB7-70A5-4E0C-835B-C50960E5BC69}"/>
          </ac:spMkLst>
        </pc:spChg>
        <pc:spChg chg="mod">
          <ac:chgData name="Nilesh Acharya" userId="9277199a-575d-4236-be7e-064ee6acc11b" providerId="ADAL" clId="{83A681C3-8DED-4DEF-BBBB-C85E676F4AFA}" dt="2019-03-01T23:54:44.278" v="1020" actId="207"/>
          <ac:spMkLst>
            <pc:docMk/>
            <pc:sldMk cId="2835925552" sldId="1842"/>
            <ac:spMk id="54" creationId="{A892DD94-78B8-4911-A32B-3B174E2921B2}"/>
          </ac:spMkLst>
        </pc:spChg>
        <pc:spChg chg="mod">
          <ac:chgData name="Nilesh Acharya" userId="9277199a-575d-4236-be7e-064ee6acc11b" providerId="ADAL" clId="{83A681C3-8DED-4DEF-BBBB-C85E676F4AFA}" dt="2019-03-01T23:54:44.278" v="1020" actId="207"/>
          <ac:spMkLst>
            <pc:docMk/>
            <pc:sldMk cId="2835925552" sldId="1842"/>
            <ac:spMk id="56" creationId="{FA562AA1-9ED1-4AA1-8F21-A53B5A69CB06}"/>
          </ac:spMkLst>
        </pc:spChg>
        <pc:spChg chg="mod">
          <ac:chgData name="Nilesh Acharya" userId="9277199a-575d-4236-be7e-064ee6acc11b" providerId="ADAL" clId="{83A681C3-8DED-4DEF-BBBB-C85E676F4AFA}" dt="2019-03-01T23:54:44.278" v="1020" actId="207"/>
          <ac:spMkLst>
            <pc:docMk/>
            <pc:sldMk cId="2835925552" sldId="1842"/>
            <ac:spMk id="58" creationId="{29E0145E-8E4E-439B-A78F-92EC279B320C}"/>
          </ac:spMkLst>
        </pc:spChg>
        <pc:spChg chg="del mod">
          <ac:chgData name="Nilesh Acharya" userId="9277199a-575d-4236-be7e-064ee6acc11b" providerId="ADAL" clId="{83A681C3-8DED-4DEF-BBBB-C85E676F4AFA}" dt="2019-03-01T23:54:47.601" v="1022" actId="478"/>
          <ac:spMkLst>
            <pc:docMk/>
            <pc:sldMk cId="2835925552" sldId="1842"/>
            <ac:spMk id="60" creationId="{8300C1D6-EBCE-4947-9A29-A24003634BB5}"/>
          </ac:spMkLst>
        </pc:spChg>
        <pc:spChg chg="mod">
          <ac:chgData name="Nilesh Acharya" userId="9277199a-575d-4236-be7e-064ee6acc11b" providerId="ADAL" clId="{83A681C3-8DED-4DEF-BBBB-C85E676F4AFA}" dt="2019-03-01T23:54:44.278" v="1020" actId="207"/>
          <ac:spMkLst>
            <pc:docMk/>
            <pc:sldMk cId="2835925552" sldId="1842"/>
            <ac:spMk id="61" creationId="{FDD482D9-76F8-4556-80E2-C1D427B1AACC}"/>
          </ac:spMkLst>
        </pc:spChg>
        <pc:spChg chg="mod">
          <ac:chgData name="Nilesh Acharya" userId="9277199a-575d-4236-be7e-064ee6acc11b" providerId="ADAL" clId="{83A681C3-8DED-4DEF-BBBB-C85E676F4AFA}" dt="2019-03-01T23:54:44.278" v="1020" actId="207"/>
          <ac:spMkLst>
            <pc:docMk/>
            <pc:sldMk cId="2835925552" sldId="1842"/>
            <ac:spMk id="63" creationId="{11EA5A3E-9599-4D6F-A3B6-6C8ED15F314D}"/>
          </ac:spMkLst>
        </pc:spChg>
        <pc:picChg chg="mod">
          <ac:chgData name="Nilesh Acharya" userId="9277199a-575d-4236-be7e-064ee6acc11b" providerId="ADAL" clId="{83A681C3-8DED-4DEF-BBBB-C85E676F4AFA}" dt="2019-03-01T23:54:44.278" v="1020" actId="207"/>
          <ac:picMkLst>
            <pc:docMk/>
            <pc:sldMk cId="2835925552" sldId="1842"/>
            <ac:picMk id="68" creationId="{1A4D648E-9C4B-40FC-8E33-092D885BF1A1}"/>
          </ac:picMkLst>
        </pc:picChg>
        <pc:picChg chg="mod">
          <ac:chgData name="Nilesh Acharya" userId="9277199a-575d-4236-be7e-064ee6acc11b" providerId="ADAL" clId="{83A681C3-8DED-4DEF-BBBB-C85E676F4AFA}" dt="2019-03-01T23:54:44.278" v="1020" actId="207"/>
          <ac:picMkLst>
            <pc:docMk/>
            <pc:sldMk cId="2835925552" sldId="1842"/>
            <ac:picMk id="70" creationId="{6C7DB170-605F-4E7A-BE2C-F0AA99E1EC1E}"/>
          </ac:picMkLst>
        </pc:picChg>
        <pc:picChg chg="mod">
          <ac:chgData name="Nilesh Acharya" userId="9277199a-575d-4236-be7e-064ee6acc11b" providerId="ADAL" clId="{83A681C3-8DED-4DEF-BBBB-C85E676F4AFA}" dt="2019-03-01T23:54:44.278" v="1020" actId="207"/>
          <ac:picMkLst>
            <pc:docMk/>
            <pc:sldMk cId="2835925552" sldId="1842"/>
            <ac:picMk id="72" creationId="{FF9ACA7F-CEC6-445B-96AC-C50DC84C3745}"/>
          </ac:picMkLst>
        </pc:picChg>
        <pc:picChg chg="mod">
          <ac:chgData name="Nilesh Acharya" userId="9277199a-575d-4236-be7e-064ee6acc11b" providerId="ADAL" clId="{83A681C3-8DED-4DEF-BBBB-C85E676F4AFA}" dt="2019-03-01T23:54:44.278" v="1020" actId="207"/>
          <ac:picMkLst>
            <pc:docMk/>
            <pc:sldMk cId="2835925552" sldId="1842"/>
            <ac:picMk id="76" creationId="{77195FC3-6C4E-4057-B359-F0A9057FB364}"/>
          </ac:picMkLst>
        </pc:picChg>
        <pc:cxnChg chg="mod">
          <ac:chgData name="Nilesh Acharya" userId="9277199a-575d-4236-be7e-064ee6acc11b" providerId="ADAL" clId="{83A681C3-8DED-4DEF-BBBB-C85E676F4AFA}" dt="2019-03-01T23:54:44.278" v="1020" actId="207"/>
          <ac:cxnSpMkLst>
            <pc:docMk/>
            <pc:sldMk cId="2835925552" sldId="1842"/>
            <ac:cxnSpMk id="37" creationId="{3E48293B-B086-4048-863C-47E7C47880A1}"/>
          </ac:cxnSpMkLst>
        </pc:cxnChg>
        <pc:cxnChg chg="mod">
          <ac:chgData name="Nilesh Acharya" userId="9277199a-575d-4236-be7e-064ee6acc11b" providerId="ADAL" clId="{83A681C3-8DED-4DEF-BBBB-C85E676F4AFA}" dt="2019-03-01T23:54:44.278" v="1020" actId="207"/>
          <ac:cxnSpMkLst>
            <pc:docMk/>
            <pc:sldMk cId="2835925552" sldId="1842"/>
            <ac:cxnSpMk id="47" creationId="{4EAA895A-8A04-4C68-83A5-3E4F5209FB7E}"/>
          </ac:cxnSpMkLst>
        </pc:cxnChg>
        <pc:cxnChg chg="mod">
          <ac:chgData name="Nilesh Acharya" userId="9277199a-575d-4236-be7e-064ee6acc11b" providerId="ADAL" clId="{83A681C3-8DED-4DEF-BBBB-C85E676F4AFA}" dt="2019-03-01T23:54:44.278" v="1020" actId="207"/>
          <ac:cxnSpMkLst>
            <pc:docMk/>
            <pc:sldMk cId="2835925552" sldId="1842"/>
            <ac:cxnSpMk id="52" creationId="{FDEE8591-D916-4064-8CD3-2AD3F759B9E2}"/>
          </ac:cxnSpMkLst>
        </pc:cxnChg>
        <pc:cxnChg chg="mod">
          <ac:chgData name="Nilesh Acharya" userId="9277199a-575d-4236-be7e-064ee6acc11b" providerId="ADAL" clId="{83A681C3-8DED-4DEF-BBBB-C85E676F4AFA}" dt="2019-03-01T23:54:44.278" v="1020" actId="207"/>
          <ac:cxnSpMkLst>
            <pc:docMk/>
            <pc:sldMk cId="2835925552" sldId="1842"/>
            <ac:cxnSpMk id="57" creationId="{59D2C94E-1924-4389-B84A-2828D610B220}"/>
          </ac:cxnSpMkLst>
        </pc:cxnChg>
        <pc:cxnChg chg="mod">
          <ac:chgData name="Nilesh Acharya" userId="9277199a-575d-4236-be7e-064ee6acc11b" providerId="ADAL" clId="{83A681C3-8DED-4DEF-BBBB-C85E676F4AFA}" dt="2019-03-01T23:54:44.278" v="1020" actId="207"/>
          <ac:cxnSpMkLst>
            <pc:docMk/>
            <pc:sldMk cId="2835925552" sldId="1842"/>
            <ac:cxnSpMk id="64" creationId="{FB9A8AD6-90CF-4A5B-A1EA-96A1C59BAC40}"/>
          </ac:cxnSpMkLst>
        </pc:cxnChg>
      </pc:sldChg>
      <pc:sldChg chg="delSp modSp">
        <pc:chgData name="Nilesh Acharya" userId="9277199a-575d-4236-be7e-064ee6acc11b" providerId="ADAL" clId="{83A681C3-8DED-4DEF-BBBB-C85E676F4AFA}" dt="2019-03-01T23:54:10.294" v="1013" actId="1076"/>
        <pc:sldMkLst>
          <pc:docMk/>
          <pc:sldMk cId="3206577557" sldId="1880"/>
        </pc:sldMkLst>
        <pc:picChg chg="del">
          <ac:chgData name="Nilesh Acharya" userId="9277199a-575d-4236-be7e-064ee6acc11b" providerId="ADAL" clId="{83A681C3-8DED-4DEF-BBBB-C85E676F4AFA}" dt="2019-03-01T20:27:06.485" v="15" actId="478"/>
          <ac:picMkLst>
            <pc:docMk/>
            <pc:sldMk cId="3206577557" sldId="1880"/>
            <ac:picMk id="2" creationId="{A1DC2933-3EE0-42DF-AB6D-F1C118D0AB5F}"/>
          </ac:picMkLst>
        </pc:picChg>
        <pc:picChg chg="del">
          <ac:chgData name="Nilesh Acharya" userId="9277199a-575d-4236-be7e-064ee6acc11b" providerId="ADAL" clId="{83A681C3-8DED-4DEF-BBBB-C85E676F4AFA}" dt="2019-03-01T20:27:08.851" v="20" actId="478"/>
          <ac:picMkLst>
            <pc:docMk/>
            <pc:sldMk cId="3206577557" sldId="1880"/>
            <ac:picMk id="4" creationId="{DCC5708F-875B-4FC8-81C7-76C8055EBBCB}"/>
          </ac:picMkLst>
        </pc:picChg>
        <pc:picChg chg="del">
          <ac:chgData name="Nilesh Acharya" userId="9277199a-575d-4236-be7e-064ee6acc11b" providerId="ADAL" clId="{83A681C3-8DED-4DEF-BBBB-C85E676F4AFA}" dt="2019-03-01T20:27:07.546" v="17" actId="478"/>
          <ac:picMkLst>
            <pc:docMk/>
            <pc:sldMk cId="3206577557" sldId="1880"/>
            <ac:picMk id="10" creationId="{E859F87B-9AA8-4D0C-81AB-440F45503EC6}"/>
          </ac:picMkLst>
        </pc:picChg>
        <pc:picChg chg="del">
          <ac:chgData name="Nilesh Acharya" userId="9277199a-575d-4236-be7e-064ee6acc11b" providerId="ADAL" clId="{83A681C3-8DED-4DEF-BBBB-C85E676F4AFA}" dt="2019-03-01T20:27:08.002" v="18" actId="478"/>
          <ac:picMkLst>
            <pc:docMk/>
            <pc:sldMk cId="3206577557" sldId="1880"/>
            <ac:picMk id="19" creationId="{8D5CD126-376F-4F82-BB34-13831DEA82F4}"/>
          </ac:picMkLst>
        </pc:picChg>
        <pc:picChg chg="del">
          <ac:chgData name="Nilesh Acharya" userId="9277199a-575d-4236-be7e-064ee6acc11b" providerId="ADAL" clId="{83A681C3-8DED-4DEF-BBBB-C85E676F4AFA}" dt="2019-03-01T20:27:08.481" v="19" actId="478"/>
          <ac:picMkLst>
            <pc:docMk/>
            <pc:sldMk cId="3206577557" sldId="1880"/>
            <ac:picMk id="20" creationId="{EC664243-1CF1-483C-B8A2-85F398FFC80E}"/>
          </ac:picMkLst>
        </pc:picChg>
        <pc:picChg chg="del">
          <ac:chgData name="Nilesh Acharya" userId="9277199a-575d-4236-be7e-064ee6acc11b" providerId="ADAL" clId="{83A681C3-8DED-4DEF-BBBB-C85E676F4AFA}" dt="2019-03-01T20:27:07.100" v="16" actId="478"/>
          <ac:picMkLst>
            <pc:docMk/>
            <pc:sldMk cId="3206577557" sldId="1880"/>
            <ac:picMk id="27" creationId="{1C1DD870-4AF6-4153-8143-88361E1D0CF6}"/>
          </ac:picMkLst>
        </pc:picChg>
        <pc:picChg chg="mod">
          <ac:chgData name="Nilesh Acharya" userId="9277199a-575d-4236-be7e-064ee6acc11b" providerId="ADAL" clId="{83A681C3-8DED-4DEF-BBBB-C85E676F4AFA}" dt="2019-03-01T23:54:10.294" v="1013" actId="1076"/>
          <ac:picMkLst>
            <pc:docMk/>
            <pc:sldMk cId="3206577557" sldId="1880"/>
            <ac:picMk id="7174" creationId="{857F04BB-0CE0-4620-B44A-5EFB9CD7BAF7}"/>
          </ac:picMkLst>
        </pc:picChg>
      </pc:sldChg>
      <pc:sldChg chg="add">
        <pc:chgData name="Nilesh Acharya" userId="9277199a-575d-4236-be7e-064ee6acc11b" providerId="ADAL" clId="{83A681C3-8DED-4DEF-BBBB-C85E676F4AFA}" dt="2019-03-01T20:27:28.716" v="40"/>
        <pc:sldMkLst>
          <pc:docMk/>
          <pc:sldMk cId="2397697570" sldId="2771"/>
        </pc:sldMkLst>
      </pc:sldChg>
      <pc:sldChg chg="del">
        <pc:chgData name="Nilesh Acharya" userId="9277199a-575d-4236-be7e-064ee6acc11b" providerId="ADAL" clId="{83A681C3-8DED-4DEF-BBBB-C85E676F4AFA}" dt="2019-03-01T20:29:04.922" v="46" actId="2696"/>
        <pc:sldMkLst>
          <pc:docMk/>
          <pc:sldMk cId="3980067488" sldId="3433"/>
        </pc:sldMkLst>
      </pc:sldChg>
      <pc:sldChg chg="del">
        <pc:chgData name="Nilesh Acharya" userId="9277199a-575d-4236-be7e-064ee6acc11b" providerId="ADAL" clId="{83A681C3-8DED-4DEF-BBBB-C85E676F4AFA}" dt="2019-03-01T20:29:03.658" v="45" actId="2696"/>
        <pc:sldMkLst>
          <pc:docMk/>
          <pc:sldMk cId="1504207588" sldId="3453"/>
        </pc:sldMkLst>
      </pc:sldChg>
      <pc:sldChg chg="del">
        <pc:chgData name="Nilesh Acharya" userId="9277199a-575d-4236-be7e-064ee6acc11b" providerId="ADAL" clId="{83A681C3-8DED-4DEF-BBBB-C85E676F4AFA}" dt="2019-03-01T20:28:09.164" v="43" actId="2696"/>
        <pc:sldMkLst>
          <pc:docMk/>
          <pc:sldMk cId="11639233" sldId="4635"/>
        </pc:sldMkLst>
      </pc:sldChg>
      <pc:sldChg chg="modSp ord">
        <pc:chgData name="Nilesh Acharya" userId="9277199a-575d-4236-be7e-064ee6acc11b" providerId="ADAL" clId="{83A681C3-8DED-4DEF-BBBB-C85E676F4AFA}" dt="2019-03-02T00:00:20.805" v="1118" actId="1076"/>
        <pc:sldMkLst>
          <pc:docMk/>
          <pc:sldMk cId="2400226323" sldId="4656"/>
        </pc:sldMkLst>
        <pc:spChg chg="mod">
          <ac:chgData name="Nilesh Acharya" userId="9277199a-575d-4236-be7e-064ee6acc11b" providerId="ADAL" clId="{83A681C3-8DED-4DEF-BBBB-C85E676F4AFA}" dt="2019-03-02T00:00:20.805" v="1118" actId="1076"/>
          <ac:spMkLst>
            <pc:docMk/>
            <pc:sldMk cId="2400226323" sldId="4656"/>
            <ac:spMk id="10" creationId="{00000000-0000-0000-0000-000000000000}"/>
          </ac:spMkLst>
        </pc:spChg>
        <pc:spChg chg="mod">
          <ac:chgData name="Nilesh Acharya" userId="9277199a-575d-4236-be7e-064ee6acc11b" providerId="ADAL" clId="{83A681C3-8DED-4DEF-BBBB-C85E676F4AFA}" dt="2019-03-02T00:00:13.954" v="1117" actId="404"/>
          <ac:spMkLst>
            <pc:docMk/>
            <pc:sldMk cId="2400226323" sldId="4656"/>
            <ac:spMk id="16" creationId="{00000000-0000-0000-0000-000000000000}"/>
          </ac:spMkLst>
        </pc:spChg>
      </pc:sldChg>
      <pc:sldChg chg="addSp delSp modSp mod setBg setClrOvrMap">
        <pc:chgData name="Nilesh Acharya" userId="9277199a-575d-4236-be7e-064ee6acc11b" providerId="ADAL" clId="{83A681C3-8DED-4DEF-BBBB-C85E676F4AFA}" dt="2019-03-01T20:23:02.889" v="14" actId="26606"/>
        <pc:sldMkLst>
          <pc:docMk/>
          <pc:sldMk cId="3065753880" sldId="4657"/>
        </pc:sldMkLst>
        <pc:spChg chg="mod">
          <ac:chgData name="Nilesh Acharya" userId="9277199a-575d-4236-be7e-064ee6acc11b" providerId="ADAL" clId="{83A681C3-8DED-4DEF-BBBB-C85E676F4AFA}" dt="2019-03-01T20:23:02.889" v="14" actId="26606"/>
          <ac:spMkLst>
            <pc:docMk/>
            <pc:sldMk cId="3065753880" sldId="4657"/>
            <ac:spMk id="2" creationId="{6A28D201-DE7F-495C-8627-12EC5D0ED883}"/>
          </ac:spMkLst>
        </pc:spChg>
        <pc:spChg chg="add del">
          <ac:chgData name="Nilesh Acharya" userId="9277199a-575d-4236-be7e-064ee6acc11b" providerId="ADAL" clId="{83A681C3-8DED-4DEF-BBBB-C85E676F4AFA}" dt="2019-03-01T20:23:02.868" v="13" actId="26606"/>
          <ac:spMkLst>
            <pc:docMk/>
            <pc:sldMk cId="3065753880" sldId="4657"/>
            <ac:spMk id="7" creationId="{66B332A4-D438-4773-A77F-5ED49A448D9D}"/>
          </ac:spMkLst>
        </pc:spChg>
        <pc:spChg chg="add del">
          <ac:chgData name="Nilesh Acharya" userId="9277199a-575d-4236-be7e-064ee6acc11b" providerId="ADAL" clId="{83A681C3-8DED-4DEF-BBBB-C85E676F4AFA}" dt="2019-03-01T20:22:59.139" v="9" actId="26606"/>
          <ac:spMkLst>
            <pc:docMk/>
            <pc:sldMk cId="3065753880" sldId="4657"/>
            <ac:spMk id="9" creationId="{5B32A67F-3598-4A13-8552-DA884FFCCE57}"/>
          </ac:spMkLst>
        </pc:spChg>
        <pc:spChg chg="add del">
          <ac:chgData name="Nilesh Acharya" userId="9277199a-575d-4236-be7e-064ee6acc11b" providerId="ADAL" clId="{83A681C3-8DED-4DEF-BBBB-C85E676F4AFA}" dt="2019-03-01T20:22:59.139" v="9" actId="26606"/>
          <ac:spMkLst>
            <pc:docMk/>
            <pc:sldMk cId="3065753880" sldId="4657"/>
            <ac:spMk id="11" creationId="{BCC55ACC-A2F6-403C-A3A4-D59B3734D45F}"/>
          </ac:spMkLst>
        </pc:spChg>
        <pc:spChg chg="add del">
          <ac:chgData name="Nilesh Acharya" userId="9277199a-575d-4236-be7e-064ee6acc11b" providerId="ADAL" clId="{83A681C3-8DED-4DEF-BBBB-C85E676F4AFA}" dt="2019-03-01T20:22:59.139" v="9" actId="26606"/>
          <ac:spMkLst>
            <pc:docMk/>
            <pc:sldMk cId="3065753880" sldId="4657"/>
            <ac:spMk id="13" creationId="{598EBA13-C937-430B-9523-439FE21096E6}"/>
          </ac:spMkLst>
        </pc:spChg>
        <pc:spChg chg="add del">
          <ac:chgData name="Nilesh Acharya" userId="9277199a-575d-4236-be7e-064ee6acc11b" providerId="ADAL" clId="{83A681C3-8DED-4DEF-BBBB-C85E676F4AFA}" dt="2019-03-01T20:23:00.437" v="11" actId="26606"/>
          <ac:spMkLst>
            <pc:docMk/>
            <pc:sldMk cId="3065753880" sldId="4657"/>
            <ac:spMk id="15" creationId="{5B32A67F-3598-4A13-8552-DA884FFCCE57}"/>
          </ac:spMkLst>
        </pc:spChg>
        <pc:spChg chg="add del">
          <ac:chgData name="Nilesh Acharya" userId="9277199a-575d-4236-be7e-064ee6acc11b" providerId="ADAL" clId="{83A681C3-8DED-4DEF-BBBB-C85E676F4AFA}" dt="2019-03-01T20:23:00.437" v="11" actId="26606"/>
          <ac:spMkLst>
            <pc:docMk/>
            <pc:sldMk cId="3065753880" sldId="4657"/>
            <ac:spMk id="16" creationId="{BCC55ACC-A2F6-403C-A3A4-D59B3734D45F}"/>
          </ac:spMkLst>
        </pc:spChg>
        <pc:spChg chg="add del">
          <ac:chgData name="Nilesh Acharya" userId="9277199a-575d-4236-be7e-064ee6acc11b" providerId="ADAL" clId="{83A681C3-8DED-4DEF-BBBB-C85E676F4AFA}" dt="2019-03-01T20:23:00.437" v="11" actId="26606"/>
          <ac:spMkLst>
            <pc:docMk/>
            <pc:sldMk cId="3065753880" sldId="4657"/>
            <ac:spMk id="17" creationId="{598EBA13-C937-430B-9523-439FE21096E6}"/>
          </ac:spMkLst>
        </pc:spChg>
        <pc:spChg chg="add del">
          <ac:chgData name="Nilesh Acharya" userId="9277199a-575d-4236-be7e-064ee6acc11b" providerId="ADAL" clId="{83A681C3-8DED-4DEF-BBBB-C85E676F4AFA}" dt="2019-03-01T20:23:02.868" v="13" actId="26606"/>
          <ac:spMkLst>
            <pc:docMk/>
            <pc:sldMk cId="3065753880" sldId="4657"/>
            <ac:spMk id="20" creationId="{DF9AD32D-FF05-44F4-BD4D-9CEE89B71EB9}"/>
          </ac:spMkLst>
        </pc:spChg>
        <pc:picChg chg="add del">
          <ac:chgData name="Nilesh Acharya" userId="9277199a-575d-4236-be7e-064ee6acc11b" providerId="ADAL" clId="{83A681C3-8DED-4DEF-BBBB-C85E676F4AFA}" dt="2019-03-01T20:22:55.429" v="7" actId="26606"/>
          <ac:picMkLst>
            <pc:docMk/>
            <pc:sldMk cId="3065753880" sldId="4657"/>
            <ac:picMk id="6" creationId="{FFFC32AD-6826-4D80-B67F-F33885513F48}"/>
          </ac:picMkLst>
        </pc:picChg>
        <pc:picChg chg="add del">
          <ac:chgData name="Nilesh Acharya" userId="9277199a-575d-4236-be7e-064ee6acc11b" providerId="ADAL" clId="{83A681C3-8DED-4DEF-BBBB-C85E676F4AFA}" dt="2019-03-01T20:22:55.429" v="7" actId="26606"/>
          <ac:picMkLst>
            <pc:docMk/>
            <pc:sldMk cId="3065753880" sldId="4657"/>
            <ac:picMk id="8" creationId="{341C280A-C536-48B4-82C1-B2B85E1F30F4}"/>
          </ac:picMkLst>
        </pc:picChg>
        <pc:picChg chg="add del">
          <ac:chgData name="Nilesh Acharya" userId="9277199a-575d-4236-be7e-064ee6acc11b" providerId="ADAL" clId="{83A681C3-8DED-4DEF-BBBB-C85E676F4AFA}" dt="2019-03-01T20:22:59.139" v="9" actId="26606"/>
          <ac:picMkLst>
            <pc:docMk/>
            <pc:sldMk cId="3065753880" sldId="4657"/>
            <ac:picMk id="10" creationId="{8BCD19C3-AA7B-4063-89ED-ABC169F1CACB}"/>
          </ac:picMkLst>
        </pc:picChg>
        <pc:picChg chg="add del">
          <ac:chgData name="Nilesh Acharya" userId="9277199a-575d-4236-be7e-064ee6acc11b" providerId="ADAL" clId="{83A681C3-8DED-4DEF-BBBB-C85E676F4AFA}" dt="2019-03-01T20:23:00.437" v="11" actId="26606"/>
          <ac:picMkLst>
            <pc:docMk/>
            <pc:sldMk cId="3065753880" sldId="4657"/>
            <ac:picMk id="18" creationId="{A04F8773-D5E2-480B-9B5C-15716301EA67}"/>
          </ac:picMkLst>
        </pc:picChg>
        <pc:picChg chg="add">
          <ac:chgData name="Nilesh Acharya" userId="9277199a-575d-4236-be7e-064ee6acc11b" providerId="ADAL" clId="{83A681C3-8DED-4DEF-BBBB-C85E676F4AFA}" dt="2019-03-01T20:23:02.889" v="14" actId="26606"/>
          <ac:picMkLst>
            <pc:docMk/>
            <pc:sldMk cId="3065753880" sldId="4657"/>
            <ac:picMk id="22" creationId="{D8C70D86-807D-43BB-9731-F233DD8FE1D6}"/>
          </ac:picMkLst>
        </pc:picChg>
        <pc:picChg chg="add">
          <ac:chgData name="Nilesh Acharya" userId="9277199a-575d-4236-be7e-064ee6acc11b" providerId="ADAL" clId="{83A681C3-8DED-4DEF-BBBB-C85E676F4AFA}" dt="2019-03-01T20:23:02.889" v="14" actId="26606"/>
          <ac:picMkLst>
            <pc:docMk/>
            <pc:sldMk cId="3065753880" sldId="4657"/>
            <ac:picMk id="23" creationId="{55E8FC1F-B104-4E59-995E-DEEF7516CB8F}"/>
          </ac:picMkLst>
        </pc:picChg>
      </pc:sldChg>
      <pc:sldChg chg="addSp modSp del mod setBg">
        <pc:chgData name="Nilesh Acharya" userId="9277199a-575d-4236-be7e-064ee6acc11b" providerId="ADAL" clId="{83A681C3-8DED-4DEF-BBBB-C85E676F4AFA}" dt="2019-03-01T23:55:14.798" v="1024" actId="2696"/>
        <pc:sldMkLst>
          <pc:docMk/>
          <pc:sldMk cId="2773908346" sldId="4675"/>
        </pc:sldMkLst>
        <pc:spChg chg="mod">
          <ac:chgData name="Nilesh Acharya" userId="9277199a-575d-4236-be7e-064ee6acc11b" providerId="ADAL" clId="{83A681C3-8DED-4DEF-BBBB-C85E676F4AFA}" dt="2019-03-01T23:55:08.628" v="1023" actId="26606"/>
          <ac:spMkLst>
            <pc:docMk/>
            <pc:sldMk cId="2773908346" sldId="4675"/>
            <ac:spMk id="2" creationId="{6A28D201-DE7F-495C-8627-12EC5D0ED883}"/>
          </ac:spMkLst>
        </pc:spChg>
        <pc:picChg chg="add">
          <ac:chgData name="Nilesh Acharya" userId="9277199a-575d-4236-be7e-064ee6acc11b" providerId="ADAL" clId="{83A681C3-8DED-4DEF-BBBB-C85E676F4AFA}" dt="2019-03-01T23:55:08.628" v="1023" actId="26606"/>
          <ac:picMkLst>
            <pc:docMk/>
            <pc:sldMk cId="2773908346" sldId="4675"/>
            <ac:picMk id="6" creationId="{D2105185-C9A8-41AA-95CF-E868FD38F20A}"/>
          </ac:picMkLst>
        </pc:picChg>
        <pc:picChg chg="add">
          <ac:chgData name="Nilesh Acharya" userId="9277199a-575d-4236-be7e-064ee6acc11b" providerId="ADAL" clId="{83A681C3-8DED-4DEF-BBBB-C85E676F4AFA}" dt="2019-03-01T23:55:08.628" v="1023" actId="26606"/>
          <ac:picMkLst>
            <pc:docMk/>
            <pc:sldMk cId="2773908346" sldId="4675"/>
            <ac:picMk id="8" creationId="{7DFF8456-8115-4B25-9EDE-B1AA5CE84895}"/>
          </ac:picMkLst>
        </pc:picChg>
      </pc:sldChg>
      <pc:sldChg chg="del">
        <pc:chgData name="Nilesh Acharya" userId="9277199a-575d-4236-be7e-064ee6acc11b" providerId="ADAL" clId="{83A681C3-8DED-4DEF-BBBB-C85E676F4AFA}" dt="2019-03-01T20:28:18.839" v="44" actId="2696"/>
        <pc:sldMkLst>
          <pc:docMk/>
          <pc:sldMk cId="1477235461" sldId="4682"/>
        </pc:sldMkLst>
      </pc:sldChg>
      <pc:sldChg chg="del ord">
        <pc:chgData name="Nilesh Acharya" userId="9277199a-575d-4236-be7e-064ee6acc11b" providerId="ADAL" clId="{83A681C3-8DED-4DEF-BBBB-C85E676F4AFA}" dt="2019-03-01T23:30:34.290" v="52"/>
        <pc:sldMkLst>
          <pc:docMk/>
          <pc:sldMk cId="2735025290" sldId="4684"/>
        </pc:sldMkLst>
      </pc:sldChg>
      <pc:sldChg chg="del">
        <pc:chgData name="Nilesh Acharya" userId="9277199a-575d-4236-be7e-064ee6acc11b" providerId="ADAL" clId="{83A681C3-8DED-4DEF-BBBB-C85E676F4AFA}" dt="2019-03-01T23:32:11.158" v="55" actId="2696"/>
        <pc:sldMkLst>
          <pc:docMk/>
          <pc:sldMk cId="1387771421" sldId="4685"/>
        </pc:sldMkLst>
      </pc:sldChg>
      <pc:sldChg chg="del">
        <pc:chgData name="Nilesh Acharya" userId="9277199a-575d-4236-be7e-064ee6acc11b" providerId="ADAL" clId="{83A681C3-8DED-4DEF-BBBB-C85E676F4AFA}" dt="2019-03-01T23:30:43.452" v="53" actId="2696"/>
        <pc:sldMkLst>
          <pc:docMk/>
          <pc:sldMk cId="3540996717" sldId="4686"/>
        </pc:sldMkLst>
      </pc:sldChg>
      <pc:sldChg chg="addSp delSp modSp mod setBg">
        <pc:chgData name="Nilesh Acharya" userId="9277199a-575d-4236-be7e-064ee6acc11b" providerId="ADAL" clId="{83A681C3-8DED-4DEF-BBBB-C85E676F4AFA}" dt="2019-03-01T23:54:34.300" v="1019" actId="26606"/>
        <pc:sldMkLst>
          <pc:docMk/>
          <pc:sldMk cId="1863646805" sldId="4692"/>
        </pc:sldMkLst>
        <pc:spChg chg="mod">
          <ac:chgData name="Nilesh Acharya" userId="9277199a-575d-4236-be7e-064ee6acc11b" providerId="ADAL" clId="{83A681C3-8DED-4DEF-BBBB-C85E676F4AFA}" dt="2019-03-01T23:54:34.300" v="1019" actId="26606"/>
          <ac:spMkLst>
            <pc:docMk/>
            <pc:sldMk cId="1863646805" sldId="4692"/>
            <ac:spMk id="2" creationId="{6A28D201-DE7F-495C-8627-12EC5D0ED883}"/>
          </ac:spMkLst>
        </pc:spChg>
        <pc:spChg chg="add del">
          <ac:chgData name="Nilesh Acharya" userId="9277199a-575d-4236-be7e-064ee6acc11b" providerId="ADAL" clId="{83A681C3-8DED-4DEF-BBBB-C85E676F4AFA}" dt="2019-03-01T23:53:57.249" v="1011" actId="26606"/>
          <ac:spMkLst>
            <pc:docMk/>
            <pc:sldMk cId="1863646805" sldId="4692"/>
            <ac:spMk id="13" creationId="{35555856-9970-4BC3-9AA9-6A917F53AFBD}"/>
          </ac:spMkLst>
        </pc:spChg>
        <pc:spChg chg="add del">
          <ac:chgData name="Nilesh Acharya" userId="9277199a-575d-4236-be7e-064ee6acc11b" providerId="ADAL" clId="{83A681C3-8DED-4DEF-BBBB-C85E676F4AFA}" dt="2019-03-01T23:53:57.249" v="1011" actId="26606"/>
          <ac:spMkLst>
            <pc:docMk/>
            <pc:sldMk cId="1863646805" sldId="4692"/>
            <ac:spMk id="17" creationId="{13722DD7-BA73-4776-93A3-94491FEF7260}"/>
          </ac:spMkLst>
        </pc:spChg>
        <pc:picChg chg="add del mod">
          <ac:chgData name="Nilesh Acharya" userId="9277199a-575d-4236-be7e-064ee6acc11b" providerId="ADAL" clId="{83A681C3-8DED-4DEF-BBBB-C85E676F4AFA}" dt="2019-03-01T23:54:34.300" v="1019" actId="26606"/>
          <ac:picMkLst>
            <pc:docMk/>
            <pc:sldMk cId="1863646805" sldId="4692"/>
            <ac:picMk id="6" creationId="{0AE5B8E7-EE72-4312-9D83-67C9FD03DEB1}"/>
          </ac:picMkLst>
        </pc:picChg>
        <pc:picChg chg="add del">
          <ac:chgData name="Nilesh Acharya" userId="9277199a-575d-4236-be7e-064ee6acc11b" providerId="ADAL" clId="{83A681C3-8DED-4DEF-BBBB-C85E676F4AFA}" dt="2019-03-01T23:54:34.300" v="1019" actId="26606"/>
          <ac:picMkLst>
            <pc:docMk/>
            <pc:sldMk cId="1863646805" sldId="4692"/>
            <ac:picMk id="8" creationId="{FE8A7746-BAF7-4F00-9FF4-F20B5B6C990D}"/>
          </ac:picMkLst>
        </pc:picChg>
        <pc:picChg chg="add del">
          <ac:chgData name="Nilesh Acharya" userId="9277199a-575d-4236-be7e-064ee6acc11b" providerId="ADAL" clId="{83A681C3-8DED-4DEF-BBBB-C85E676F4AFA}" dt="2019-03-01T23:53:57.249" v="1011" actId="26606"/>
          <ac:picMkLst>
            <pc:docMk/>
            <pc:sldMk cId="1863646805" sldId="4692"/>
            <ac:picMk id="15" creationId="{7F487851-BFAF-46D8-A1ED-50CAD6E46F59}"/>
          </ac:picMkLst>
        </pc:picChg>
      </pc:sldChg>
      <pc:sldChg chg="del">
        <pc:chgData name="Nilesh Acharya" userId="9277199a-575d-4236-be7e-064ee6acc11b" providerId="ADAL" clId="{83A681C3-8DED-4DEF-BBBB-C85E676F4AFA}" dt="2019-03-01T20:27:58.846" v="42" actId="2696"/>
        <pc:sldMkLst>
          <pc:docMk/>
          <pc:sldMk cId="676265551" sldId="4693"/>
        </pc:sldMkLst>
      </pc:sldChg>
      <pc:sldChg chg="modSp modNotesTx">
        <pc:chgData name="Nilesh Acharya" userId="9277199a-575d-4236-be7e-064ee6acc11b" providerId="ADAL" clId="{83A681C3-8DED-4DEF-BBBB-C85E676F4AFA}" dt="2019-03-14T16:52:16.164" v="1410" actId="20577"/>
        <pc:sldMkLst>
          <pc:docMk/>
          <pc:sldMk cId="1147349200" sldId="4694"/>
        </pc:sldMkLst>
        <pc:spChg chg="mod">
          <ac:chgData name="Nilesh Acharya" userId="9277199a-575d-4236-be7e-064ee6acc11b" providerId="ADAL" clId="{83A681C3-8DED-4DEF-BBBB-C85E676F4AFA}" dt="2019-03-14T16:52:16.164" v="1410" actId="20577"/>
          <ac:spMkLst>
            <pc:docMk/>
            <pc:sldMk cId="1147349200" sldId="4694"/>
            <ac:spMk id="2" creationId="{6A28D201-DE7F-495C-8627-12EC5D0ED883}"/>
          </ac:spMkLst>
        </pc:spChg>
        <pc:spChg chg="mod">
          <ac:chgData name="Nilesh Acharya" userId="9277199a-575d-4236-be7e-064ee6acc11b" providerId="ADAL" clId="{83A681C3-8DED-4DEF-BBBB-C85E676F4AFA}" dt="2019-03-06T00:35:54.211" v="1325" actId="1076"/>
          <ac:spMkLst>
            <pc:docMk/>
            <pc:sldMk cId="1147349200" sldId="4694"/>
            <ac:spMk id="6" creationId="{94114CEA-C0FE-463F-85B4-212D0AD4C5F0}"/>
          </ac:spMkLst>
        </pc:spChg>
        <pc:picChg chg="mod">
          <ac:chgData name="Nilesh Acharya" userId="9277199a-575d-4236-be7e-064ee6acc11b" providerId="ADAL" clId="{83A681C3-8DED-4DEF-BBBB-C85E676F4AFA}" dt="2019-03-06T00:35:35.290" v="1318" actId="1076"/>
          <ac:picMkLst>
            <pc:docMk/>
            <pc:sldMk cId="1147349200" sldId="4694"/>
            <ac:picMk id="4" creationId="{D4907E30-FF61-48DF-84EF-0C2BDFBD8233}"/>
          </ac:picMkLst>
        </pc:picChg>
        <pc:picChg chg="mod">
          <ac:chgData name="Nilesh Acharya" userId="9277199a-575d-4236-be7e-064ee6acc11b" providerId="ADAL" clId="{83A681C3-8DED-4DEF-BBBB-C85E676F4AFA}" dt="2019-03-06T00:35:50.920" v="1324" actId="1076"/>
          <ac:picMkLst>
            <pc:docMk/>
            <pc:sldMk cId="1147349200" sldId="4694"/>
            <ac:picMk id="5" creationId="{E6A92135-BD91-4DD5-A128-AB28A0726E4D}"/>
          </ac:picMkLst>
        </pc:picChg>
        <pc:picChg chg="mod">
          <ac:chgData name="Nilesh Acharya" userId="9277199a-575d-4236-be7e-064ee6acc11b" providerId="ADAL" clId="{83A681C3-8DED-4DEF-BBBB-C85E676F4AFA}" dt="2019-03-06T00:35:56.761" v="1326" actId="1076"/>
          <ac:picMkLst>
            <pc:docMk/>
            <pc:sldMk cId="1147349200" sldId="4694"/>
            <ac:picMk id="33" creationId="{2F07EA26-6328-4B30-8894-F4D6FEBE0E5C}"/>
          </ac:picMkLst>
        </pc:picChg>
      </pc:sldChg>
      <pc:sldChg chg="delSp modSp add del">
        <pc:chgData name="Nilesh Acharya" userId="9277199a-575d-4236-be7e-064ee6acc11b" providerId="ADAL" clId="{83A681C3-8DED-4DEF-BBBB-C85E676F4AFA}" dt="2019-03-01T23:44:38.295" v="707" actId="2696"/>
        <pc:sldMkLst>
          <pc:docMk/>
          <pc:sldMk cId="2663256663" sldId="4725"/>
        </pc:sldMkLst>
        <pc:spChg chg="mod">
          <ac:chgData name="Nilesh Acharya" userId="9277199a-575d-4236-be7e-064ee6acc11b" providerId="ADAL" clId="{83A681C3-8DED-4DEF-BBBB-C85E676F4AFA}" dt="2019-03-01T23:42:19.682" v="606" actId="1076"/>
          <ac:spMkLst>
            <pc:docMk/>
            <pc:sldMk cId="2663256663" sldId="4725"/>
            <ac:spMk id="5" creationId="{10873EA6-5C08-4145-9545-F344A57380E1}"/>
          </ac:spMkLst>
        </pc:spChg>
        <pc:graphicFrameChg chg="del">
          <ac:chgData name="Nilesh Acharya" userId="9277199a-575d-4236-be7e-064ee6acc11b" providerId="ADAL" clId="{83A681C3-8DED-4DEF-BBBB-C85E676F4AFA}" dt="2019-03-01T23:39:44.720" v="283" actId="478"/>
          <ac:graphicFrameMkLst>
            <pc:docMk/>
            <pc:sldMk cId="2663256663" sldId="4725"/>
            <ac:graphicFrameMk id="6" creationId="{EAA649F6-93E6-412F-94A6-E385442DE7EE}"/>
          </ac:graphicFrameMkLst>
        </pc:graphicFrameChg>
      </pc:sldChg>
      <pc:sldChg chg="add">
        <pc:chgData name="Nilesh Acharya" userId="9277199a-575d-4236-be7e-064ee6acc11b" providerId="ADAL" clId="{83A681C3-8DED-4DEF-BBBB-C85E676F4AFA}" dt="2019-03-01T20:33:10.296" v="48"/>
        <pc:sldMkLst>
          <pc:docMk/>
          <pc:sldMk cId="3812928314" sldId="9843"/>
        </pc:sldMkLst>
      </pc:sldChg>
      <pc:sldChg chg="add">
        <pc:chgData name="Nilesh Acharya" userId="9277199a-575d-4236-be7e-064ee6acc11b" providerId="ADAL" clId="{83A681C3-8DED-4DEF-BBBB-C85E676F4AFA}" dt="2019-03-01T20:27:45.663" v="41"/>
        <pc:sldMkLst>
          <pc:docMk/>
          <pc:sldMk cId="2001064562" sldId="9844"/>
        </pc:sldMkLst>
      </pc:sldChg>
      <pc:sldChg chg="modSp">
        <pc:chgData name="Nilesh Acharya" userId="9277199a-575d-4236-be7e-064ee6acc11b" providerId="ADAL" clId="{83A681C3-8DED-4DEF-BBBB-C85E676F4AFA}" dt="2019-03-01T23:30:21.011" v="51" actId="1076"/>
        <pc:sldMkLst>
          <pc:docMk/>
          <pc:sldMk cId="1093207017" sldId="9845"/>
        </pc:sldMkLst>
        <pc:picChg chg="mod">
          <ac:chgData name="Nilesh Acharya" userId="9277199a-575d-4236-be7e-064ee6acc11b" providerId="ADAL" clId="{83A681C3-8DED-4DEF-BBBB-C85E676F4AFA}" dt="2019-03-01T23:30:21.011" v="51" actId="1076"/>
          <ac:picMkLst>
            <pc:docMk/>
            <pc:sldMk cId="1093207017" sldId="9845"/>
            <ac:picMk id="6" creationId="{05CDA4D0-60DF-42B9-ADBB-905718665449}"/>
          </ac:picMkLst>
        </pc:picChg>
      </pc:sldChg>
      <pc:sldChg chg="addSp delSp modSp add">
        <pc:chgData name="Nilesh Acharya" userId="9277199a-575d-4236-be7e-064ee6acc11b" providerId="ADAL" clId="{83A681C3-8DED-4DEF-BBBB-C85E676F4AFA}" dt="2019-03-01T23:55:37.489" v="1026" actId="108"/>
        <pc:sldMkLst>
          <pc:docMk/>
          <pc:sldMk cId="1024633037" sldId="10106"/>
        </pc:sldMkLst>
        <pc:spChg chg="mod">
          <ac:chgData name="Nilesh Acharya" userId="9277199a-575d-4236-be7e-064ee6acc11b" providerId="ADAL" clId="{83A681C3-8DED-4DEF-BBBB-C85E676F4AFA}" dt="2019-03-01T23:43:26.508" v="667" actId="1076"/>
          <ac:spMkLst>
            <pc:docMk/>
            <pc:sldMk cId="1024633037" sldId="10106"/>
            <ac:spMk id="2" creationId="{578A81E7-9825-4BA3-87D3-030B9AF85035}"/>
          </ac:spMkLst>
        </pc:spChg>
        <pc:spChg chg="del">
          <ac:chgData name="Nilesh Acharya" userId="9277199a-575d-4236-be7e-064ee6acc11b" providerId="ADAL" clId="{83A681C3-8DED-4DEF-BBBB-C85E676F4AFA}" dt="2019-03-01T23:38:59.508" v="275" actId="478"/>
          <ac:spMkLst>
            <pc:docMk/>
            <pc:sldMk cId="1024633037" sldId="10106"/>
            <ac:spMk id="3" creationId="{F4BDAABE-25C4-4FCF-ABD7-49EE5BA23768}"/>
          </ac:spMkLst>
        </pc:spChg>
        <pc:spChg chg="add del mod">
          <ac:chgData name="Nilesh Acharya" userId="9277199a-575d-4236-be7e-064ee6acc11b" providerId="ADAL" clId="{83A681C3-8DED-4DEF-BBBB-C85E676F4AFA}" dt="2019-03-01T23:51:48.981" v="954" actId="478"/>
          <ac:spMkLst>
            <pc:docMk/>
            <pc:sldMk cId="1024633037" sldId="10106"/>
            <ac:spMk id="4" creationId="{58715C64-3B4E-44EE-8E84-1E3ACDF6A705}"/>
          </ac:spMkLst>
        </pc:spChg>
        <pc:spChg chg="del">
          <ac:chgData name="Nilesh Acharya" userId="9277199a-575d-4236-be7e-064ee6acc11b" providerId="ADAL" clId="{83A681C3-8DED-4DEF-BBBB-C85E676F4AFA}" dt="2019-03-01T23:37:54.573" v="105" actId="478"/>
          <ac:spMkLst>
            <pc:docMk/>
            <pc:sldMk cId="1024633037" sldId="10106"/>
            <ac:spMk id="5" creationId="{6D053A3C-D3D8-488F-B732-CE1AA6035F34}"/>
          </ac:spMkLst>
        </pc:spChg>
        <pc:spChg chg="add del mod">
          <ac:chgData name="Nilesh Acharya" userId="9277199a-575d-4236-be7e-064ee6acc11b" providerId="ADAL" clId="{83A681C3-8DED-4DEF-BBBB-C85E676F4AFA}" dt="2019-03-01T23:37:56.906" v="107" actId="478"/>
          <ac:spMkLst>
            <pc:docMk/>
            <pc:sldMk cId="1024633037" sldId="10106"/>
            <ac:spMk id="12" creationId="{B549D2FC-7BD0-4910-9E85-787AD43C571A}"/>
          </ac:spMkLst>
        </pc:spChg>
        <pc:spChg chg="del mod">
          <ac:chgData name="Nilesh Acharya" userId="9277199a-575d-4236-be7e-064ee6acc11b" providerId="ADAL" clId="{83A681C3-8DED-4DEF-BBBB-C85E676F4AFA}" dt="2019-03-01T23:42:44.238" v="608" actId="478"/>
          <ac:spMkLst>
            <pc:docMk/>
            <pc:sldMk cId="1024633037" sldId="10106"/>
            <ac:spMk id="45" creationId="{2522E483-CAC3-5346-BF70-11E8C7D2F1D6}"/>
          </ac:spMkLst>
        </pc:spChg>
        <pc:spChg chg="del">
          <ac:chgData name="Nilesh Acharya" userId="9277199a-575d-4236-be7e-064ee6acc11b" providerId="ADAL" clId="{83A681C3-8DED-4DEF-BBBB-C85E676F4AFA}" dt="2019-03-01T23:36:59.453" v="65" actId="478"/>
          <ac:spMkLst>
            <pc:docMk/>
            <pc:sldMk cId="1024633037" sldId="10106"/>
            <ac:spMk id="46" creationId="{816BE22D-0BAE-0747-B734-0496F80C9363}"/>
          </ac:spMkLst>
        </pc:spChg>
        <pc:spChg chg="del">
          <ac:chgData name="Nilesh Acharya" userId="9277199a-575d-4236-be7e-064ee6acc11b" providerId="ADAL" clId="{83A681C3-8DED-4DEF-BBBB-C85E676F4AFA}" dt="2019-03-01T23:36:35.669" v="57" actId="478"/>
          <ac:spMkLst>
            <pc:docMk/>
            <pc:sldMk cId="1024633037" sldId="10106"/>
            <ac:spMk id="49" creationId="{DBA7EC58-ACDB-B246-B73C-09B60CADC271}"/>
          </ac:spMkLst>
        </pc:spChg>
        <pc:spChg chg="del">
          <ac:chgData name="Nilesh Acharya" userId="9277199a-575d-4236-be7e-064ee6acc11b" providerId="ADAL" clId="{83A681C3-8DED-4DEF-BBBB-C85E676F4AFA}" dt="2019-03-01T23:36:50.135" v="62" actId="478"/>
          <ac:spMkLst>
            <pc:docMk/>
            <pc:sldMk cId="1024633037" sldId="10106"/>
            <ac:spMk id="50" creationId="{688D9B25-634C-0845-B625-8E3749910BDA}"/>
          </ac:spMkLst>
        </pc:spChg>
        <pc:spChg chg="del">
          <ac:chgData name="Nilesh Acharya" userId="9277199a-575d-4236-be7e-064ee6acc11b" providerId="ADAL" clId="{83A681C3-8DED-4DEF-BBBB-C85E676F4AFA}" dt="2019-03-01T23:36:42.953" v="59" actId="478"/>
          <ac:spMkLst>
            <pc:docMk/>
            <pc:sldMk cId="1024633037" sldId="10106"/>
            <ac:spMk id="65" creationId="{D49508AE-CFE4-421F-899C-1DC89710AE19}"/>
          </ac:spMkLst>
        </pc:spChg>
        <pc:spChg chg="del">
          <ac:chgData name="Nilesh Acharya" userId="9277199a-575d-4236-be7e-064ee6acc11b" providerId="ADAL" clId="{83A681C3-8DED-4DEF-BBBB-C85E676F4AFA}" dt="2019-03-01T23:36:44.994" v="60" actId="478"/>
          <ac:spMkLst>
            <pc:docMk/>
            <pc:sldMk cId="1024633037" sldId="10106"/>
            <ac:spMk id="76" creationId="{2AFAA6A9-89A5-49EB-9911-8CDF55864F86}"/>
          </ac:spMkLst>
        </pc:spChg>
        <pc:spChg chg="add del mod">
          <ac:chgData name="Nilesh Acharya" userId="9277199a-575d-4236-be7e-064ee6acc11b" providerId="ADAL" clId="{83A681C3-8DED-4DEF-BBBB-C85E676F4AFA}" dt="2019-03-01T23:51:50.840" v="955" actId="478"/>
          <ac:spMkLst>
            <pc:docMk/>
            <pc:sldMk cId="1024633037" sldId="10106"/>
            <ac:spMk id="77" creationId="{6ABC6ADA-A737-4308-8B9E-54A7FA7B564C}"/>
          </ac:spMkLst>
        </pc:spChg>
        <pc:spChg chg="add del mod">
          <ac:chgData name="Nilesh Acharya" userId="9277199a-575d-4236-be7e-064ee6acc11b" providerId="ADAL" clId="{83A681C3-8DED-4DEF-BBBB-C85E676F4AFA}" dt="2019-03-01T23:52:37.837" v="999" actId="478"/>
          <ac:spMkLst>
            <pc:docMk/>
            <pc:sldMk cId="1024633037" sldId="10106"/>
            <ac:spMk id="88" creationId="{9CFE86A0-CB97-450E-93DC-65F078927B90}"/>
          </ac:spMkLst>
        </pc:spChg>
        <pc:grpChg chg="del mod">
          <ac:chgData name="Nilesh Acharya" userId="9277199a-575d-4236-be7e-064ee6acc11b" providerId="ADAL" clId="{83A681C3-8DED-4DEF-BBBB-C85E676F4AFA}" dt="2019-03-01T23:42:42.303" v="607" actId="478"/>
          <ac:grpSpMkLst>
            <pc:docMk/>
            <pc:sldMk cId="1024633037" sldId="10106"/>
            <ac:grpSpMk id="89" creationId="{76C463A8-BC9C-4771-8076-151B6C10E4E7}"/>
          </ac:grpSpMkLst>
        </pc:grpChg>
        <pc:grpChg chg="del">
          <ac:chgData name="Nilesh Acharya" userId="9277199a-575d-4236-be7e-064ee6acc11b" providerId="ADAL" clId="{83A681C3-8DED-4DEF-BBBB-C85E676F4AFA}" dt="2019-03-01T23:36:33.840" v="56" actId="478"/>
          <ac:grpSpMkLst>
            <pc:docMk/>
            <pc:sldMk cId="1024633037" sldId="10106"/>
            <ac:grpSpMk id="90" creationId="{77FFA27B-0616-42C8-9BA8-A4040D9050D0}"/>
          </ac:grpSpMkLst>
        </pc:grpChg>
        <pc:graphicFrameChg chg="add mod">
          <ac:chgData name="Nilesh Acharya" userId="9277199a-575d-4236-be7e-064ee6acc11b" providerId="ADAL" clId="{83A681C3-8DED-4DEF-BBBB-C85E676F4AFA}" dt="2019-03-01T23:55:37.489" v="1026" actId="108"/>
          <ac:graphicFrameMkLst>
            <pc:docMk/>
            <pc:sldMk cId="1024633037" sldId="10106"/>
            <ac:graphicFrameMk id="20" creationId="{A5563C4D-3DFC-48A6-9E7E-628A6DA14AAB}"/>
          </ac:graphicFrameMkLst>
        </pc:graphicFrameChg>
      </pc:sldChg>
      <pc:sldMasterChg chg="delSldLayout">
        <pc:chgData name="Nilesh Acharya" userId="9277199a-575d-4236-be7e-064ee6acc11b" providerId="ADAL" clId="{83A681C3-8DED-4DEF-BBBB-C85E676F4AFA}" dt="2019-03-01T20:29:04.924" v="47" actId="2696"/>
        <pc:sldMasterMkLst>
          <pc:docMk/>
          <pc:sldMasterMk cId="1990574659" sldId="2147483648"/>
        </pc:sldMasterMkLst>
        <pc:sldLayoutChg chg="del">
          <pc:chgData name="Nilesh Acharya" userId="9277199a-575d-4236-be7e-064ee6acc11b" providerId="ADAL" clId="{83A681C3-8DED-4DEF-BBBB-C85E676F4AFA}" dt="2019-03-01T20:29:04.924" v="47" actId="2696"/>
          <pc:sldLayoutMkLst>
            <pc:docMk/>
            <pc:sldMasterMk cId="1990574659" sldId="2147483648"/>
            <pc:sldLayoutMk cId="2830591074" sldId="2147483663"/>
          </pc:sldLayoutMkLst>
        </pc:sldLayoutChg>
      </pc:sldMasterChg>
      <pc:sldMasterChg chg="del delSldLayout">
        <pc:chgData name="Nilesh Acharya" userId="9277199a-575d-4236-be7e-064ee6acc11b" providerId="ADAL" clId="{83A681C3-8DED-4DEF-BBBB-C85E676F4AFA}" dt="2019-03-01T20:27:11.918" v="39" actId="2696"/>
        <pc:sldMasterMkLst>
          <pc:docMk/>
          <pc:sldMasterMk cId="3804729685" sldId="2147483665"/>
        </pc:sldMasterMkLst>
        <pc:sldLayoutChg chg="del">
          <pc:chgData name="Nilesh Acharya" userId="9277199a-575d-4236-be7e-064ee6acc11b" providerId="ADAL" clId="{83A681C3-8DED-4DEF-BBBB-C85E676F4AFA}" dt="2019-03-01T20:27:11.875" v="22" actId="2696"/>
          <pc:sldLayoutMkLst>
            <pc:docMk/>
            <pc:sldMasterMk cId="3804729685" sldId="2147483665"/>
            <pc:sldLayoutMk cId="2226719623" sldId="2147483666"/>
          </pc:sldLayoutMkLst>
        </pc:sldLayoutChg>
        <pc:sldLayoutChg chg="del">
          <pc:chgData name="Nilesh Acharya" userId="9277199a-575d-4236-be7e-064ee6acc11b" providerId="ADAL" clId="{83A681C3-8DED-4DEF-BBBB-C85E676F4AFA}" dt="2019-03-01T20:27:11.879" v="23" actId="2696"/>
          <pc:sldLayoutMkLst>
            <pc:docMk/>
            <pc:sldMasterMk cId="3804729685" sldId="2147483665"/>
            <pc:sldLayoutMk cId="2636282219" sldId="2147483667"/>
          </pc:sldLayoutMkLst>
        </pc:sldLayoutChg>
        <pc:sldLayoutChg chg="del">
          <pc:chgData name="Nilesh Acharya" userId="9277199a-575d-4236-be7e-064ee6acc11b" providerId="ADAL" clId="{83A681C3-8DED-4DEF-BBBB-C85E676F4AFA}" dt="2019-03-01T20:27:11.881" v="24" actId="2696"/>
          <pc:sldLayoutMkLst>
            <pc:docMk/>
            <pc:sldMasterMk cId="3804729685" sldId="2147483665"/>
            <pc:sldLayoutMk cId="1450251642" sldId="2147483668"/>
          </pc:sldLayoutMkLst>
        </pc:sldLayoutChg>
        <pc:sldLayoutChg chg="del">
          <pc:chgData name="Nilesh Acharya" userId="9277199a-575d-4236-be7e-064ee6acc11b" providerId="ADAL" clId="{83A681C3-8DED-4DEF-BBBB-C85E676F4AFA}" dt="2019-03-01T20:27:11.884" v="25" actId="2696"/>
          <pc:sldLayoutMkLst>
            <pc:docMk/>
            <pc:sldMasterMk cId="3804729685" sldId="2147483665"/>
            <pc:sldLayoutMk cId="1735383764" sldId="2147483669"/>
          </pc:sldLayoutMkLst>
        </pc:sldLayoutChg>
        <pc:sldLayoutChg chg="del">
          <pc:chgData name="Nilesh Acharya" userId="9277199a-575d-4236-be7e-064ee6acc11b" providerId="ADAL" clId="{83A681C3-8DED-4DEF-BBBB-C85E676F4AFA}" dt="2019-03-01T20:27:11.888" v="26" actId="2696"/>
          <pc:sldLayoutMkLst>
            <pc:docMk/>
            <pc:sldMasterMk cId="3804729685" sldId="2147483665"/>
            <pc:sldLayoutMk cId="102412341" sldId="2147483670"/>
          </pc:sldLayoutMkLst>
        </pc:sldLayoutChg>
        <pc:sldLayoutChg chg="del">
          <pc:chgData name="Nilesh Acharya" userId="9277199a-575d-4236-be7e-064ee6acc11b" providerId="ADAL" clId="{83A681C3-8DED-4DEF-BBBB-C85E676F4AFA}" dt="2019-03-01T20:27:11.891" v="27" actId="2696"/>
          <pc:sldLayoutMkLst>
            <pc:docMk/>
            <pc:sldMasterMk cId="3804729685" sldId="2147483665"/>
            <pc:sldLayoutMk cId="3595528604" sldId="2147483671"/>
          </pc:sldLayoutMkLst>
        </pc:sldLayoutChg>
        <pc:sldLayoutChg chg="del">
          <pc:chgData name="Nilesh Acharya" userId="9277199a-575d-4236-be7e-064ee6acc11b" providerId="ADAL" clId="{83A681C3-8DED-4DEF-BBBB-C85E676F4AFA}" dt="2019-03-01T20:27:11.892" v="28" actId="2696"/>
          <pc:sldLayoutMkLst>
            <pc:docMk/>
            <pc:sldMasterMk cId="3804729685" sldId="2147483665"/>
            <pc:sldLayoutMk cId="755088019" sldId="2147483672"/>
          </pc:sldLayoutMkLst>
        </pc:sldLayoutChg>
        <pc:sldLayoutChg chg="del">
          <pc:chgData name="Nilesh Acharya" userId="9277199a-575d-4236-be7e-064ee6acc11b" providerId="ADAL" clId="{83A681C3-8DED-4DEF-BBBB-C85E676F4AFA}" dt="2019-03-01T20:27:11.894" v="29" actId="2696"/>
          <pc:sldLayoutMkLst>
            <pc:docMk/>
            <pc:sldMasterMk cId="3804729685" sldId="2147483665"/>
            <pc:sldLayoutMk cId="2029982153" sldId="2147483673"/>
          </pc:sldLayoutMkLst>
        </pc:sldLayoutChg>
        <pc:sldLayoutChg chg="del">
          <pc:chgData name="Nilesh Acharya" userId="9277199a-575d-4236-be7e-064ee6acc11b" providerId="ADAL" clId="{83A681C3-8DED-4DEF-BBBB-C85E676F4AFA}" dt="2019-03-01T20:27:11.895" v="30" actId="2696"/>
          <pc:sldLayoutMkLst>
            <pc:docMk/>
            <pc:sldMasterMk cId="3804729685" sldId="2147483665"/>
            <pc:sldLayoutMk cId="2570270996" sldId="2147483674"/>
          </pc:sldLayoutMkLst>
        </pc:sldLayoutChg>
        <pc:sldLayoutChg chg="del">
          <pc:chgData name="Nilesh Acharya" userId="9277199a-575d-4236-be7e-064ee6acc11b" providerId="ADAL" clId="{83A681C3-8DED-4DEF-BBBB-C85E676F4AFA}" dt="2019-03-01T20:27:11.898" v="31" actId="2696"/>
          <pc:sldLayoutMkLst>
            <pc:docMk/>
            <pc:sldMasterMk cId="3804729685" sldId="2147483665"/>
            <pc:sldLayoutMk cId="2015164128" sldId="2147483675"/>
          </pc:sldLayoutMkLst>
        </pc:sldLayoutChg>
        <pc:sldLayoutChg chg="del">
          <pc:chgData name="Nilesh Acharya" userId="9277199a-575d-4236-be7e-064ee6acc11b" providerId="ADAL" clId="{83A681C3-8DED-4DEF-BBBB-C85E676F4AFA}" dt="2019-03-01T20:27:11.899" v="32" actId="2696"/>
          <pc:sldLayoutMkLst>
            <pc:docMk/>
            <pc:sldMasterMk cId="3804729685" sldId="2147483665"/>
            <pc:sldLayoutMk cId="16314659" sldId="2147483676"/>
          </pc:sldLayoutMkLst>
        </pc:sldLayoutChg>
        <pc:sldLayoutChg chg="del">
          <pc:chgData name="Nilesh Acharya" userId="9277199a-575d-4236-be7e-064ee6acc11b" providerId="ADAL" clId="{83A681C3-8DED-4DEF-BBBB-C85E676F4AFA}" dt="2019-03-01T20:27:11.903" v="33" actId="2696"/>
          <pc:sldLayoutMkLst>
            <pc:docMk/>
            <pc:sldMasterMk cId="3804729685" sldId="2147483665"/>
            <pc:sldLayoutMk cId="3588518674" sldId="2147483677"/>
          </pc:sldLayoutMkLst>
        </pc:sldLayoutChg>
        <pc:sldLayoutChg chg="del">
          <pc:chgData name="Nilesh Acharya" userId="9277199a-575d-4236-be7e-064ee6acc11b" providerId="ADAL" clId="{83A681C3-8DED-4DEF-BBBB-C85E676F4AFA}" dt="2019-03-01T20:27:11.908" v="34" actId="2696"/>
          <pc:sldLayoutMkLst>
            <pc:docMk/>
            <pc:sldMasterMk cId="3804729685" sldId="2147483665"/>
            <pc:sldLayoutMk cId="1887703909" sldId="2147483678"/>
          </pc:sldLayoutMkLst>
        </pc:sldLayoutChg>
        <pc:sldLayoutChg chg="del">
          <pc:chgData name="Nilesh Acharya" userId="9277199a-575d-4236-be7e-064ee6acc11b" providerId="ADAL" clId="{83A681C3-8DED-4DEF-BBBB-C85E676F4AFA}" dt="2019-03-01T20:27:11.909" v="35" actId="2696"/>
          <pc:sldLayoutMkLst>
            <pc:docMk/>
            <pc:sldMasterMk cId="3804729685" sldId="2147483665"/>
            <pc:sldLayoutMk cId="2187979810" sldId="2147483679"/>
          </pc:sldLayoutMkLst>
        </pc:sldLayoutChg>
        <pc:sldLayoutChg chg="del">
          <pc:chgData name="Nilesh Acharya" userId="9277199a-575d-4236-be7e-064ee6acc11b" providerId="ADAL" clId="{83A681C3-8DED-4DEF-BBBB-C85E676F4AFA}" dt="2019-03-01T20:27:11.911" v="36" actId="2696"/>
          <pc:sldLayoutMkLst>
            <pc:docMk/>
            <pc:sldMasterMk cId="3804729685" sldId="2147483665"/>
            <pc:sldLayoutMk cId="3594077229" sldId="2147483680"/>
          </pc:sldLayoutMkLst>
        </pc:sldLayoutChg>
        <pc:sldLayoutChg chg="del">
          <pc:chgData name="Nilesh Acharya" userId="9277199a-575d-4236-be7e-064ee6acc11b" providerId="ADAL" clId="{83A681C3-8DED-4DEF-BBBB-C85E676F4AFA}" dt="2019-03-01T20:27:11.913" v="37" actId="2696"/>
          <pc:sldLayoutMkLst>
            <pc:docMk/>
            <pc:sldMasterMk cId="3804729685" sldId="2147483665"/>
            <pc:sldLayoutMk cId="2070024707" sldId="2147483681"/>
          </pc:sldLayoutMkLst>
        </pc:sldLayoutChg>
        <pc:sldLayoutChg chg="del">
          <pc:chgData name="Nilesh Acharya" userId="9277199a-575d-4236-be7e-064ee6acc11b" providerId="ADAL" clId="{83A681C3-8DED-4DEF-BBBB-C85E676F4AFA}" dt="2019-03-01T20:27:11.915" v="38" actId="2696"/>
          <pc:sldLayoutMkLst>
            <pc:docMk/>
            <pc:sldMasterMk cId="3804729685" sldId="2147483665"/>
            <pc:sldLayoutMk cId="65090806" sldId="2147483682"/>
          </pc:sldLayoutMkLst>
        </pc:sldLayoutChg>
      </pc:sldMasterChg>
    </pc:docChg>
  </pc:docChgLst>
  <pc:docChgLst>
    <pc:chgData name="Nilesh Acharya" userId="9277199a-575d-4236-be7e-064ee6acc11b" providerId="ADAL" clId="{8F5A3035-6AEC-4A4F-82D1-6F3AD1D4A8A9}"/>
    <pc:docChg chg="undo redo custSel mod addSld delSld modSld sldOrd">
      <pc:chgData name="Nilesh Acharya" userId="9277199a-575d-4236-be7e-064ee6acc11b" providerId="ADAL" clId="{8F5A3035-6AEC-4A4F-82D1-6F3AD1D4A8A9}" dt="2018-12-03T22:51:02.094" v="630" actId="6549"/>
      <pc:docMkLst>
        <pc:docMk/>
      </pc:docMkLst>
      <pc:sldChg chg="modSp">
        <pc:chgData name="Nilesh Acharya" userId="9277199a-575d-4236-be7e-064ee6acc11b" providerId="ADAL" clId="{8F5A3035-6AEC-4A4F-82D1-6F3AD1D4A8A9}" dt="2018-12-02T09:53:26.963" v="563" actId="1076"/>
        <pc:sldMkLst>
          <pc:docMk/>
          <pc:sldMk cId="3799496209" sldId="283"/>
        </pc:sldMkLst>
        <pc:spChg chg="mod">
          <ac:chgData name="Nilesh Acharya" userId="9277199a-575d-4236-be7e-064ee6acc11b" providerId="ADAL" clId="{8F5A3035-6AEC-4A4F-82D1-6F3AD1D4A8A9}" dt="2018-12-02T09:53:26.963" v="563" actId="1076"/>
          <ac:spMkLst>
            <pc:docMk/>
            <pc:sldMk cId="3799496209" sldId="283"/>
            <ac:spMk id="3" creationId="{20BF9959-4F39-4F6F-B931-DB875E93EBF2}"/>
          </ac:spMkLst>
        </pc:spChg>
        <pc:spChg chg="mod">
          <ac:chgData name="Nilesh Acharya" userId="9277199a-575d-4236-be7e-064ee6acc11b" providerId="ADAL" clId="{8F5A3035-6AEC-4A4F-82D1-6F3AD1D4A8A9}" dt="2018-12-02T09:23:32.764" v="55" actId="20577"/>
          <ac:spMkLst>
            <pc:docMk/>
            <pc:sldMk cId="3799496209" sldId="283"/>
            <ac:spMk id="16" creationId="{00000000-0000-0000-0000-000000000000}"/>
          </ac:spMkLst>
        </pc:spChg>
      </pc:sldChg>
      <pc:sldChg chg="modSp ord">
        <pc:chgData name="Nilesh Acharya" userId="9277199a-575d-4236-be7e-064ee6acc11b" providerId="ADAL" clId="{8F5A3035-6AEC-4A4F-82D1-6F3AD1D4A8A9}" dt="2018-12-02T09:54:06.740" v="564" actId="404"/>
        <pc:sldMkLst>
          <pc:docMk/>
          <pc:sldMk cId="2400226323" sldId="4656"/>
        </pc:sldMkLst>
        <pc:spChg chg="mod">
          <ac:chgData name="Nilesh Acharya" userId="9277199a-575d-4236-be7e-064ee6acc11b" providerId="ADAL" clId="{8F5A3035-6AEC-4A4F-82D1-6F3AD1D4A8A9}" dt="2018-12-02T09:39:55.419" v="550" actId="20577"/>
          <ac:spMkLst>
            <pc:docMk/>
            <pc:sldMk cId="2400226323" sldId="4656"/>
            <ac:spMk id="10" creationId="{00000000-0000-0000-0000-000000000000}"/>
          </ac:spMkLst>
        </pc:spChg>
        <pc:spChg chg="mod">
          <ac:chgData name="Nilesh Acharya" userId="9277199a-575d-4236-be7e-064ee6acc11b" providerId="ADAL" clId="{8F5A3035-6AEC-4A4F-82D1-6F3AD1D4A8A9}" dt="2018-12-02T09:54:06.740" v="564" actId="404"/>
          <ac:spMkLst>
            <pc:docMk/>
            <pc:sldMk cId="2400226323" sldId="4656"/>
            <ac:spMk id="16" creationId="{00000000-0000-0000-0000-000000000000}"/>
          </ac:spMkLst>
        </pc:spChg>
      </pc:sldChg>
      <pc:sldChg chg="modSp">
        <pc:chgData name="Nilesh Acharya" userId="9277199a-575d-4236-be7e-064ee6acc11b" providerId="ADAL" clId="{8F5A3035-6AEC-4A4F-82D1-6F3AD1D4A8A9}" dt="2018-12-02T09:44:54.276" v="552" actId="1076"/>
        <pc:sldMkLst>
          <pc:docMk/>
          <pc:sldMk cId="3065753880" sldId="4657"/>
        </pc:sldMkLst>
        <pc:spChg chg="mod">
          <ac:chgData name="Nilesh Acharya" userId="9277199a-575d-4236-be7e-064ee6acc11b" providerId="ADAL" clId="{8F5A3035-6AEC-4A4F-82D1-6F3AD1D4A8A9}" dt="2018-12-02T09:44:54.276" v="552" actId="1076"/>
          <ac:spMkLst>
            <pc:docMk/>
            <pc:sldMk cId="3065753880" sldId="4657"/>
            <ac:spMk id="2" creationId="{6A28D201-DE7F-495C-8627-12EC5D0ED883}"/>
          </ac:spMkLst>
        </pc:spChg>
      </pc:sldChg>
      <pc:sldChg chg="modSp">
        <pc:chgData name="Nilesh Acharya" userId="9277199a-575d-4236-be7e-064ee6acc11b" providerId="ADAL" clId="{8F5A3035-6AEC-4A4F-82D1-6F3AD1D4A8A9}" dt="2018-11-30T21:00:05.081" v="26" actId="20577"/>
        <pc:sldMkLst>
          <pc:docMk/>
          <pc:sldMk cId="2735025290" sldId="4684"/>
        </pc:sldMkLst>
        <pc:spChg chg="mod">
          <ac:chgData name="Nilesh Acharya" userId="9277199a-575d-4236-be7e-064ee6acc11b" providerId="ADAL" clId="{8F5A3035-6AEC-4A4F-82D1-6F3AD1D4A8A9}" dt="2018-11-30T21:00:05.081" v="26" actId="20577"/>
          <ac:spMkLst>
            <pc:docMk/>
            <pc:sldMk cId="2735025290" sldId="4684"/>
            <ac:spMk id="4" creationId="{6364D22D-A0C3-4545-AFE1-FBD20C6FFBBC}"/>
          </ac:spMkLst>
        </pc:spChg>
      </pc:sldChg>
      <pc:sldChg chg="modSp ord">
        <pc:chgData name="Nilesh Acharya" userId="9277199a-575d-4236-be7e-064ee6acc11b" providerId="ADAL" clId="{8F5A3035-6AEC-4A4F-82D1-6F3AD1D4A8A9}" dt="2018-12-03T22:51:02.094" v="630" actId="6549"/>
        <pc:sldMkLst>
          <pc:docMk/>
          <pc:sldMk cId="1387771421" sldId="4685"/>
        </pc:sldMkLst>
        <pc:spChg chg="mod">
          <ac:chgData name="Nilesh Acharya" userId="9277199a-575d-4236-be7e-064ee6acc11b" providerId="ADAL" clId="{8F5A3035-6AEC-4A4F-82D1-6F3AD1D4A8A9}" dt="2018-12-03T22:51:02.094" v="630" actId="6549"/>
          <ac:spMkLst>
            <pc:docMk/>
            <pc:sldMk cId="1387771421" sldId="4685"/>
            <ac:spMk id="4" creationId="{6364D22D-A0C3-4545-AFE1-FBD20C6FFBBC}"/>
          </ac:spMkLst>
        </pc:spChg>
      </pc:sldChg>
      <pc:sldChg chg="modSp add">
        <pc:chgData name="Nilesh Acharya" userId="9277199a-575d-4236-be7e-064ee6acc11b" providerId="ADAL" clId="{8F5A3035-6AEC-4A4F-82D1-6F3AD1D4A8A9}" dt="2018-12-02T09:54:51.924" v="629" actId="20577"/>
        <pc:sldMkLst>
          <pc:docMk/>
          <pc:sldMk cId="1863646805" sldId="4692"/>
        </pc:sldMkLst>
        <pc:spChg chg="mod">
          <ac:chgData name="Nilesh Acharya" userId="9277199a-575d-4236-be7e-064ee6acc11b" providerId="ADAL" clId="{8F5A3035-6AEC-4A4F-82D1-6F3AD1D4A8A9}" dt="2018-12-02T09:54:51.924" v="629" actId="20577"/>
          <ac:spMkLst>
            <pc:docMk/>
            <pc:sldMk cId="1863646805" sldId="4692"/>
            <ac:spMk id="2" creationId="{6A28D201-DE7F-495C-8627-12EC5D0ED883}"/>
          </ac:spMkLst>
        </pc:spChg>
      </pc:sldChg>
      <pc:sldChg chg="add del">
        <pc:chgData name="Nilesh Acharya" userId="9277199a-575d-4236-be7e-064ee6acc11b" providerId="ADAL" clId="{8F5A3035-6AEC-4A4F-82D1-6F3AD1D4A8A9}" dt="2018-12-02T09:23:08.235" v="30"/>
        <pc:sldMkLst>
          <pc:docMk/>
          <pc:sldMk cId="2435528333" sldId="4692"/>
        </pc:sldMkLst>
      </pc:sldChg>
      <pc:sldChg chg="add">
        <pc:chgData name="Nilesh Acharya" userId="9277199a-575d-4236-be7e-064ee6acc11b" providerId="ADAL" clId="{8F5A3035-6AEC-4A4F-82D1-6F3AD1D4A8A9}" dt="2018-12-02T09:23:37.918" v="56"/>
        <pc:sldMkLst>
          <pc:docMk/>
          <pc:sldMk cId="676265551" sldId="4693"/>
        </pc:sldMkLst>
      </pc:sldChg>
      <pc:sldChg chg="addSp delSp modSp add mod setBg modAnim setClrOvrMap">
        <pc:chgData name="Nilesh Acharya" userId="9277199a-575d-4236-be7e-064ee6acc11b" providerId="ADAL" clId="{8F5A3035-6AEC-4A4F-82D1-6F3AD1D4A8A9}" dt="2018-12-02T09:39:03.866" v="491" actId="1076"/>
        <pc:sldMkLst>
          <pc:docMk/>
          <pc:sldMk cId="1147349200" sldId="4694"/>
        </pc:sldMkLst>
        <pc:spChg chg="mod ord">
          <ac:chgData name="Nilesh Acharya" userId="9277199a-575d-4236-be7e-064ee6acc11b" providerId="ADAL" clId="{8F5A3035-6AEC-4A4F-82D1-6F3AD1D4A8A9}" dt="2018-12-02T09:36:20.078" v="387" actId="404"/>
          <ac:spMkLst>
            <pc:docMk/>
            <pc:sldMk cId="1147349200" sldId="4694"/>
            <ac:spMk id="2" creationId="{6A28D201-DE7F-495C-8627-12EC5D0ED883}"/>
          </ac:spMkLst>
        </pc:spChg>
        <pc:spChg chg="add mod">
          <ac:chgData name="Nilesh Acharya" userId="9277199a-575d-4236-be7e-064ee6acc11b" providerId="ADAL" clId="{8F5A3035-6AEC-4A4F-82D1-6F3AD1D4A8A9}" dt="2018-12-02T09:38:01.258" v="425" actId="1076"/>
          <ac:spMkLst>
            <pc:docMk/>
            <pc:sldMk cId="1147349200" sldId="4694"/>
            <ac:spMk id="6" creationId="{94114CEA-C0FE-463F-85B4-212D0AD4C5F0}"/>
          </ac:spMkLst>
        </pc:spChg>
        <pc:spChg chg="add del">
          <ac:chgData name="Nilesh Acharya" userId="9277199a-575d-4236-be7e-064ee6acc11b" providerId="ADAL" clId="{8F5A3035-6AEC-4A4F-82D1-6F3AD1D4A8A9}" dt="2018-12-02T09:29:40.358" v="188" actId="26606"/>
          <ac:spMkLst>
            <pc:docMk/>
            <pc:sldMk cId="1147349200" sldId="4694"/>
            <ac:spMk id="8" creationId="{6753252F-4873-4F63-801D-CC719279A7D5}"/>
          </ac:spMkLst>
        </pc:spChg>
        <pc:spChg chg="add del">
          <ac:chgData name="Nilesh Acharya" userId="9277199a-575d-4236-be7e-064ee6acc11b" providerId="ADAL" clId="{8F5A3035-6AEC-4A4F-82D1-6F3AD1D4A8A9}" dt="2018-12-02T09:29:40.358" v="188" actId="26606"/>
          <ac:spMkLst>
            <pc:docMk/>
            <pc:sldMk cId="1147349200" sldId="4694"/>
            <ac:spMk id="10" creationId="{047C8CCB-F95D-4249-92DD-651249D3535A}"/>
          </ac:spMkLst>
        </pc:spChg>
        <pc:spChg chg="add del">
          <ac:chgData name="Nilesh Acharya" userId="9277199a-575d-4236-be7e-064ee6acc11b" providerId="ADAL" clId="{8F5A3035-6AEC-4A4F-82D1-6F3AD1D4A8A9}" dt="2018-12-02T09:29:42.869" v="190" actId="26606"/>
          <ac:spMkLst>
            <pc:docMk/>
            <pc:sldMk cId="1147349200" sldId="4694"/>
            <ac:spMk id="12" creationId="{823AC064-BC96-4F32-8AE1-B2FD38754823}"/>
          </ac:spMkLst>
        </pc:spChg>
        <pc:spChg chg="add del">
          <ac:chgData name="Nilesh Acharya" userId="9277199a-575d-4236-be7e-064ee6acc11b" providerId="ADAL" clId="{8F5A3035-6AEC-4A4F-82D1-6F3AD1D4A8A9}" dt="2018-12-02T09:29:44.117" v="192" actId="26606"/>
          <ac:spMkLst>
            <pc:docMk/>
            <pc:sldMk cId="1147349200" sldId="4694"/>
            <ac:spMk id="15" creationId="{71B2258F-86CA-4D4D-8270-BC05FCDEBFB3}"/>
          </ac:spMkLst>
        </pc:spChg>
        <pc:spChg chg="add del">
          <ac:chgData name="Nilesh Acharya" userId="9277199a-575d-4236-be7e-064ee6acc11b" providerId="ADAL" clId="{8F5A3035-6AEC-4A4F-82D1-6F3AD1D4A8A9}" dt="2018-12-02T09:29:45.666" v="194" actId="26606"/>
          <ac:spMkLst>
            <pc:docMk/>
            <pc:sldMk cId="1147349200" sldId="4694"/>
            <ac:spMk id="17" creationId="{AB45A142-4255-493C-8284-5D566C121B10}"/>
          </ac:spMkLst>
        </pc:spChg>
        <pc:spChg chg="add del">
          <ac:chgData name="Nilesh Acharya" userId="9277199a-575d-4236-be7e-064ee6acc11b" providerId="ADAL" clId="{8F5A3035-6AEC-4A4F-82D1-6F3AD1D4A8A9}" dt="2018-12-02T09:30:32.209" v="229" actId="26606"/>
          <ac:spMkLst>
            <pc:docMk/>
            <pc:sldMk cId="1147349200" sldId="4694"/>
            <ac:spMk id="20" creationId="{74426AB7-D619-4515-962A-BC83909EC015}"/>
          </ac:spMkLst>
        </pc:spChg>
        <pc:spChg chg="add del">
          <ac:chgData name="Nilesh Acharya" userId="9277199a-575d-4236-be7e-064ee6acc11b" providerId="ADAL" clId="{8F5A3035-6AEC-4A4F-82D1-6F3AD1D4A8A9}" dt="2018-12-02T09:30:32.209" v="229" actId="26606"/>
          <ac:spMkLst>
            <pc:docMk/>
            <pc:sldMk cId="1147349200" sldId="4694"/>
            <ac:spMk id="21" creationId="{DE47DF98-723F-4AAC-ABCF-CACBC438F78F}"/>
          </ac:spMkLst>
        </pc:spChg>
        <pc:spChg chg="add mod">
          <ac:chgData name="Nilesh Acharya" userId="9277199a-575d-4236-be7e-064ee6acc11b" providerId="ADAL" clId="{8F5A3035-6AEC-4A4F-82D1-6F3AD1D4A8A9}" dt="2018-12-02T09:36:48.139" v="396" actId="1076"/>
          <ac:spMkLst>
            <pc:docMk/>
            <pc:sldMk cId="1147349200" sldId="4694"/>
            <ac:spMk id="26" creationId="{1E72D8F4-1671-4EAA-BF27-D7E91DCF3E24}"/>
          </ac:spMkLst>
        </pc:spChg>
        <pc:spChg chg="add del">
          <ac:chgData name="Nilesh Acharya" userId="9277199a-575d-4236-be7e-064ee6acc11b" providerId="ADAL" clId="{8F5A3035-6AEC-4A4F-82D1-6F3AD1D4A8A9}" dt="2018-12-02T09:30:20.823" v="219" actId="26606"/>
          <ac:spMkLst>
            <pc:docMk/>
            <pc:sldMk cId="1147349200" sldId="4694"/>
            <ac:spMk id="27" creationId="{87CC2527-562A-4F69-B487-4371E5B243E7}"/>
          </ac:spMkLst>
        </pc:spChg>
        <pc:spChg chg="add mod">
          <ac:chgData name="Nilesh Acharya" userId="9277199a-575d-4236-be7e-064ee6acc11b" providerId="ADAL" clId="{8F5A3035-6AEC-4A4F-82D1-6F3AD1D4A8A9}" dt="2018-12-02T09:37:28.927" v="414" actId="404"/>
          <ac:spMkLst>
            <pc:docMk/>
            <pc:sldMk cId="1147349200" sldId="4694"/>
            <ac:spMk id="30" creationId="{57E2C78D-E032-447F-9998-350DD19CB3E3}"/>
          </ac:spMkLst>
        </pc:spChg>
        <pc:spChg chg="add del">
          <ac:chgData name="Nilesh Acharya" userId="9277199a-575d-4236-be7e-064ee6acc11b" providerId="ADAL" clId="{8F5A3035-6AEC-4A4F-82D1-6F3AD1D4A8A9}" dt="2018-12-02T09:30:21.461" v="221" actId="26606"/>
          <ac:spMkLst>
            <pc:docMk/>
            <pc:sldMk cId="1147349200" sldId="4694"/>
            <ac:spMk id="31" creationId="{FD451EE1-06AB-4684-8B7A-59133962CD21}"/>
          </ac:spMkLst>
        </pc:spChg>
        <pc:spChg chg="add del">
          <ac:chgData name="Nilesh Acharya" userId="9277199a-575d-4236-be7e-064ee6acc11b" providerId="ADAL" clId="{8F5A3035-6AEC-4A4F-82D1-6F3AD1D4A8A9}" dt="2018-12-02T09:30:21.461" v="221" actId="26606"/>
          <ac:spMkLst>
            <pc:docMk/>
            <pc:sldMk cId="1147349200" sldId="4694"/>
            <ac:spMk id="32" creationId="{E402D69F-ABEF-47E0-B154-C6656A2B3F24}"/>
          </ac:spMkLst>
        </pc:spChg>
        <pc:spChg chg="add del">
          <ac:chgData name="Nilesh Acharya" userId="9277199a-575d-4236-be7e-064ee6acc11b" providerId="ADAL" clId="{8F5A3035-6AEC-4A4F-82D1-6F3AD1D4A8A9}" dt="2018-12-02T09:30:23.135" v="223" actId="26606"/>
          <ac:spMkLst>
            <pc:docMk/>
            <pc:sldMk cId="1147349200" sldId="4694"/>
            <ac:spMk id="35" creationId="{02E941BD-027E-419D-A57B-79D61423B642}"/>
          </ac:spMkLst>
        </pc:spChg>
        <pc:spChg chg="add mod">
          <ac:chgData name="Nilesh Acharya" userId="9277199a-575d-4236-be7e-064ee6acc11b" providerId="ADAL" clId="{8F5A3035-6AEC-4A4F-82D1-6F3AD1D4A8A9}" dt="2018-12-02T09:39:03.866" v="491" actId="1076"/>
          <ac:spMkLst>
            <pc:docMk/>
            <pc:sldMk cId="1147349200" sldId="4694"/>
            <ac:spMk id="36" creationId="{7AF80110-BBA2-47D0-A8D0-EA773531F5F2}"/>
          </ac:spMkLst>
        </pc:spChg>
        <pc:spChg chg="add del">
          <ac:chgData name="Nilesh Acharya" userId="9277199a-575d-4236-be7e-064ee6acc11b" providerId="ADAL" clId="{8F5A3035-6AEC-4A4F-82D1-6F3AD1D4A8A9}" dt="2018-12-02T09:30:25.069" v="225" actId="26606"/>
          <ac:spMkLst>
            <pc:docMk/>
            <pc:sldMk cId="1147349200" sldId="4694"/>
            <ac:spMk id="37" creationId="{823AC064-BC96-4F32-8AE1-B2FD38754823}"/>
          </ac:spMkLst>
        </pc:spChg>
        <pc:spChg chg="add del">
          <ac:chgData name="Nilesh Acharya" userId="9277199a-575d-4236-be7e-064ee6acc11b" providerId="ADAL" clId="{8F5A3035-6AEC-4A4F-82D1-6F3AD1D4A8A9}" dt="2018-12-02T09:30:27.210" v="227" actId="26606"/>
          <ac:spMkLst>
            <pc:docMk/>
            <pc:sldMk cId="1147349200" sldId="4694"/>
            <ac:spMk id="40" creationId="{74426AB7-D619-4515-962A-BC83909EC015}"/>
          </ac:spMkLst>
        </pc:spChg>
        <pc:spChg chg="add del">
          <ac:chgData name="Nilesh Acharya" userId="9277199a-575d-4236-be7e-064ee6acc11b" providerId="ADAL" clId="{8F5A3035-6AEC-4A4F-82D1-6F3AD1D4A8A9}" dt="2018-12-02T09:30:27.210" v="227" actId="26606"/>
          <ac:spMkLst>
            <pc:docMk/>
            <pc:sldMk cId="1147349200" sldId="4694"/>
            <ac:spMk id="41" creationId="{DE47DF98-723F-4AAC-ABCF-CACBC438F78F}"/>
          </ac:spMkLst>
        </pc:spChg>
        <pc:picChg chg="add del mod">
          <ac:chgData name="Nilesh Acharya" userId="9277199a-575d-4236-be7e-064ee6acc11b" providerId="ADAL" clId="{8F5A3035-6AEC-4A4F-82D1-6F3AD1D4A8A9}" dt="2018-12-02T09:30:33.590" v="230"/>
          <ac:picMkLst>
            <pc:docMk/>
            <pc:sldMk cId="1147349200" sldId="4694"/>
            <ac:picMk id="3" creationId="{FF07A46C-7C6B-4E4E-B513-405CCD219ABB}"/>
          </ac:picMkLst>
        </pc:picChg>
        <pc:picChg chg="add mod">
          <ac:chgData name="Nilesh Acharya" userId="9277199a-575d-4236-be7e-064ee6acc11b" providerId="ADAL" clId="{8F5A3035-6AEC-4A4F-82D1-6F3AD1D4A8A9}" dt="2018-12-02T09:37:55.498" v="423" actId="1076"/>
          <ac:picMkLst>
            <pc:docMk/>
            <pc:sldMk cId="1147349200" sldId="4694"/>
            <ac:picMk id="4" creationId="{D4907E30-FF61-48DF-84EF-0C2BDFBD8233}"/>
          </ac:picMkLst>
        </pc:picChg>
        <pc:picChg chg="add mod">
          <ac:chgData name="Nilesh Acharya" userId="9277199a-575d-4236-be7e-064ee6acc11b" providerId="ADAL" clId="{8F5A3035-6AEC-4A4F-82D1-6F3AD1D4A8A9}" dt="2018-12-02T09:37:58.009" v="424" actId="1076"/>
          <ac:picMkLst>
            <pc:docMk/>
            <pc:sldMk cId="1147349200" sldId="4694"/>
            <ac:picMk id="5" creationId="{E6A92135-BD91-4DD5-A128-AB28A0726E4D}"/>
          </ac:picMkLst>
        </pc:picChg>
        <pc:picChg chg="add del">
          <ac:chgData name="Nilesh Acharya" userId="9277199a-575d-4236-be7e-064ee6acc11b" providerId="ADAL" clId="{8F5A3035-6AEC-4A4F-82D1-6F3AD1D4A8A9}" dt="2018-12-02T09:34:46.067" v="288"/>
          <ac:picMkLst>
            <pc:docMk/>
            <pc:sldMk cId="1147349200" sldId="4694"/>
            <ac:picMk id="7" creationId="{070366F3-1C00-4A0C-9D6C-E11E03013FA2}"/>
          </ac:picMkLst>
        </pc:picChg>
        <pc:picChg chg="add mod">
          <ac:chgData name="Nilesh Acharya" userId="9277199a-575d-4236-be7e-064ee6acc11b" providerId="ADAL" clId="{8F5A3035-6AEC-4A4F-82D1-6F3AD1D4A8A9}" dt="2018-12-02T09:38:59.516" v="490" actId="1076"/>
          <ac:picMkLst>
            <pc:docMk/>
            <pc:sldMk cId="1147349200" sldId="4694"/>
            <ac:picMk id="33" creationId="{2F07EA26-6328-4B30-8894-F4D6FEBE0E5C}"/>
          </ac:picMkLst>
        </pc:picChg>
        <pc:picChg chg="add del">
          <ac:chgData name="Nilesh Acharya" userId="9277199a-575d-4236-be7e-064ee6acc11b" providerId="ADAL" clId="{8F5A3035-6AEC-4A4F-82D1-6F3AD1D4A8A9}" dt="2018-12-02T09:30:23.135" v="223" actId="26606"/>
          <ac:picMkLst>
            <pc:docMk/>
            <pc:sldMk cId="1147349200" sldId="4694"/>
            <ac:picMk id="34" creationId="{DEF28D5B-2926-4FE4-BF22-EA37C737E8FE}"/>
          </ac:picMkLst>
        </pc:picChg>
        <pc:cxnChg chg="add del">
          <ac:chgData name="Nilesh Acharya" userId="9277199a-575d-4236-be7e-064ee6acc11b" providerId="ADAL" clId="{8F5A3035-6AEC-4A4F-82D1-6F3AD1D4A8A9}" dt="2018-12-02T09:29:42.869" v="190" actId="26606"/>
          <ac:cxnSpMkLst>
            <pc:docMk/>
            <pc:sldMk cId="1147349200" sldId="4694"/>
            <ac:cxnSpMk id="13" creationId="{7E7C77BC-7138-40B1-A15B-20F57A494629}"/>
          </ac:cxnSpMkLst>
        </pc:cxnChg>
        <pc:cxnChg chg="add del">
          <ac:chgData name="Nilesh Acharya" userId="9277199a-575d-4236-be7e-064ee6acc11b" providerId="ADAL" clId="{8F5A3035-6AEC-4A4F-82D1-6F3AD1D4A8A9}" dt="2018-12-02T09:29:45.666" v="194" actId="26606"/>
          <ac:cxnSpMkLst>
            <pc:docMk/>
            <pc:sldMk cId="1147349200" sldId="4694"/>
            <ac:cxnSpMk id="18" creationId="{38FB9660-F42F-4313-BBC4-47C007FE484C}"/>
          </ac:cxnSpMkLst>
        </pc:cxnChg>
        <pc:cxnChg chg="add del">
          <ac:chgData name="Nilesh Acharya" userId="9277199a-575d-4236-be7e-064ee6acc11b" providerId="ADAL" clId="{8F5A3035-6AEC-4A4F-82D1-6F3AD1D4A8A9}" dt="2018-12-02T09:30:32.209" v="229" actId="26606"/>
          <ac:cxnSpMkLst>
            <pc:docMk/>
            <pc:sldMk cId="1147349200" sldId="4694"/>
            <ac:cxnSpMk id="22" creationId="{EA29FC7C-9308-4FDE-8DCA-405668055B0F}"/>
          </ac:cxnSpMkLst>
        </pc:cxnChg>
        <pc:cxnChg chg="add del">
          <ac:chgData name="Nilesh Acharya" userId="9277199a-575d-4236-be7e-064ee6acc11b" providerId="ADAL" clId="{8F5A3035-6AEC-4A4F-82D1-6F3AD1D4A8A9}" dt="2018-12-02T09:30:20.823" v="219" actId="26606"/>
          <ac:cxnSpMkLst>
            <pc:docMk/>
            <pc:sldMk cId="1147349200" sldId="4694"/>
            <ac:cxnSpMk id="29" creationId="{BCDAEC91-5BCE-4B55-9CC0-43EF94CB734B}"/>
          </ac:cxnSpMkLst>
        </pc:cxnChg>
        <pc:cxnChg chg="add del">
          <ac:chgData name="Nilesh Acharya" userId="9277199a-575d-4236-be7e-064ee6acc11b" providerId="ADAL" clId="{8F5A3035-6AEC-4A4F-82D1-6F3AD1D4A8A9}" dt="2018-12-02T09:30:25.069" v="225" actId="26606"/>
          <ac:cxnSpMkLst>
            <pc:docMk/>
            <pc:sldMk cId="1147349200" sldId="4694"/>
            <ac:cxnSpMk id="38" creationId="{7E7C77BC-7138-40B1-A15B-20F57A494629}"/>
          </ac:cxnSpMkLst>
        </pc:cxnChg>
        <pc:cxnChg chg="add del">
          <ac:chgData name="Nilesh Acharya" userId="9277199a-575d-4236-be7e-064ee6acc11b" providerId="ADAL" clId="{8F5A3035-6AEC-4A4F-82D1-6F3AD1D4A8A9}" dt="2018-12-02T09:30:27.210" v="227" actId="26606"/>
          <ac:cxnSpMkLst>
            <pc:docMk/>
            <pc:sldMk cId="1147349200" sldId="4694"/>
            <ac:cxnSpMk id="42" creationId="{EA29FC7C-9308-4FDE-8DCA-405668055B0F}"/>
          </ac:cxnSpMkLst>
        </pc:cxnChg>
      </pc:sldChg>
      <pc:sldChg chg="addSp delSp modSp add del delAnim">
        <pc:chgData name="Nilesh Acharya" userId="9277199a-575d-4236-be7e-064ee6acc11b" providerId="ADAL" clId="{8F5A3035-6AEC-4A4F-82D1-6F3AD1D4A8A9}" dt="2018-12-02T09:27:14.804" v="74" actId="2696"/>
        <pc:sldMkLst>
          <pc:docMk/>
          <pc:sldMk cId="3280649663" sldId="4694"/>
        </pc:sldMkLst>
        <pc:spChg chg="del">
          <ac:chgData name="Nilesh Acharya" userId="9277199a-575d-4236-be7e-064ee6acc11b" providerId="ADAL" clId="{8F5A3035-6AEC-4A4F-82D1-6F3AD1D4A8A9}" dt="2018-12-02T09:23:56.424" v="73" actId="478"/>
          <ac:spMkLst>
            <pc:docMk/>
            <pc:sldMk cId="3280649663" sldId="4694"/>
            <ac:spMk id="2" creationId="{6A28D201-DE7F-495C-8627-12EC5D0ED883}"/>
          </ac:spMkLst>
        </pc:spChg>
        <pc:spChg chg="add mod">
          <ac:chgData name="Nilesh Acharya" userId="9277199a-575d-4236-be7e-064ee6acc11b" providerId="ADAL" clId="{8F5A3035-6AEC-4A4F-82D1-6F3AD1D4A8A9}" dt="2018-12-02T09:23:56.424" v="73" actId="478"/>
          <ac:spMkLst>
            <pc:docMk/>
            <pc:sldMk cId="3280649663" sldId="4694"/>
            <ac:spMk id="4" creationId="{7F4C35AC-4818-444F-BDE0-704C911D2AA5}"/>
          </ac:spMkLst>
        </pc:spChg>
      </pc:sldChg>
      <pc:sldChg chg="addSp delSp modSp add del modAnim">
        <pc:chgData name="Nilesh Acharya" userId="9277199a-575d-4236-be7e-064ee6acc11b" providerId="ADAL" clId="{8F5A3035-6AEC-4A4F-82D1-6F3AD1D4A8A9}" dt="2018-12-02T09:39:27.035" v="525" actId="2696"/>
        <pc:sldMkLst>
          <pc:docMk/>
          <pc:sldMk cId="125406838" sldId="4695"/>
        </pc:sldMkLst>
        <pc:spChg chg="del mod">
          <ac:chgData name="Nilesh Acharya" userId="9277199a-575d-4236-be7e-064ee6acc11b" providerId="ADAL" clId="{8F5A3035-6AEC-4A4F-82D1-6F3AD1D4A8A9}" dt="2018-12-02T09:37:14.827" v="404"/>
          <ac:spMkLst>
            <pc:docMk/>
            <pc:sldMk cId="125406838" sldId="4695"/>
            <ac:spMk id="2" creationId="{6A28D201-DE7F-495C-8627-12EC5D0ED883}"/>
          </ac:spMkLst>
        </pc:spChg>
        <pc:spChg chg="del">
          <ac:chgData name="Nilesh Acharya" userId="9277199a-575d-4236-be7e-064ee6acc11b" providerId="ADAL" clId="{8F5A3035-6AEC-4A4F-82D1-6F3AD1D4A8A9}" dt="2018-12-02T09:34:55.117" v="293" actId="478"/>
          <ac:spMkLst>
            <pc:docMk/>
            <pc:sldMk cId="125406838" sldId="4695"/>
            <ac:spMk id="6" creationId="{94114CEA-C0FE-463F-85B4-212D0AD4C5F0}"/>
          </ac:spMkLst>
        </pc:spChg>
        <pc:spChg chg="add del mod">
          <ac:chgData name="Nilesh Acharya" userId="9277199a-575d-4236-be7e-064ee6acc11b" providerId="ADAL" clId="{8F5A3035-6AEC-4A4F-82D1-6F3AD1D4A8A9}" dt="2018-12-02T09:38:40.814" v="480"/>
          <ac:spMkLst>
            <pc:docMk/>
            <pc:sldMk cId="125406838" sldId="4695"/>
            <ac:spMk id="7" creationId="{BC7F4E75-D338-48D2-84D7-56AE5063EDC5}"/>
          </ac:spMkLst>
        </pc:spChg>
        <pc:spChg chg="add mod">
          <ac:chgData name="Nilesh Acharya" userId="9277199a-575d-4236-be7e-064ee6acc11b" providerId="ADAL" clId="{8F5A3035-6AEC-4A4F-82D1-6F3AD1D4A8A9}" dt="2018-12-02T09:38:40.814" v="480"/>
          <ac:spMkLst>
            <pc:docMk/>
            <pc:sldMk cId="125406838" sldId="4695"/>
            <ac:spMk id="8" creationId="{D8F9A32F-254F-4411-BD76-FEE8C759B5AD}"/>
          </ac:spMkLst>
        </pc:spChg>
        <pc:spChg chg="mod">
          <ac:chgData name="Nilesh Acharya" userId="9277199a-575d-4236-be7e-064ee6acc11b" providerId="ADAL" clId="{8F5A3035-6AEC-4A4F-82D1-6F3AD1D4A8A9}" dt="2018-12-02T09:34:53.361" v="292" actId="6549"/>
          <ac:spMkLst>
            <pc:docMk/>
            <pc:sldMk cId="125406838" sldId="4695"/>
            <ac:spMk id="26" creationId="{1E72D8F4-1671-4EAA-BF27-D7E91DCF3E24}"/>
          </ac:spMkLst>
        </pc:spChg>
        <pc:picChg chg="add del mod">
          <ac:chgData name="Nilesh Acharya" userId="9277199a-575d-4236-be7e-064ee6acc11b" providerId="ADAL" clId="{8F5A3035-6AEC-4A4F-82D1-6F3AD1D4A8A9}" dt="2018-12-02T09:37:33.252" v="415"/>
          <ac:picMkLst>
            <pc:docMk/>
            <pc:sldMk cId="125406838" sldId="4695"/>
            <ac:picMk id="3" creationId="{D176CA27-8F5A-4DBD-A849-D75B0CA8079B}"/>
          </ac:picMkLst>
        </pc:picChg>
        <pc:picChg chg="del">
          <ac:chgData name="Nilesh Acharya" userId="9277199a-575d-4236-be7e-064ee6acc11b" providerId="ADAL" clId="{8F5A3035-6AEC-4A4F-82D1-6F3AD1D4A8A9}" dt="2018-12-02T09:34:51.636" v="291" actId="478"/>
          <ac:picMkLst>
            <pc:docMk/>
            <pc:sldMk cId="125406838" sldId="4695"/>
            <ac:picMk id="4" creationId="{D4907E30-FF61-48DF-84EF-0C2BDFBD8233}"/>
          </ac:picMkLst>
        </pc:picChg>
        <pc:picChg chg="del">
          <ac:chgData name="Nilesh Acharya" userId="9277199a-575d-4236-be7e-064ee6acc11b" providerId="ADAL" clId="{8F5A3035-6AEC-4A4F-82D1-6F3AD1D4A8A9}" dt="2018-12-02T09:34:50.033" v="290" actId="478"/>
          <ac:picMkLst>
            <pc:docMk/>
            <pc:sldMk cId="125406838" sldId="4695"/>
            <ac:picMk id="5" creationId="{E6A92135-BD91-4DD5-A128-AB28A0726E4D}"/>
          </ac:picMkLst>
        </pc:picChg>
      </pc:sldChg>
      <pc:sldChg chg="addSp delSp modSp add del">
        <pc:chgData name="Nilesh Acharya" userId="9277199a-575d-4236-be7e-064ee6acc11b" providerId="ADAL" clId="{8F5A3035-6AEC-4A4F-82D1-6F3AD1D4A8A9}" dt="2018-12-02T09:50:26.043" v="561" actId="2696"/>
        <pc:sldMkLst>
          <pc:docMk/>
          <pc:sldMk cId="3679015571" sldId="4695"/>
        </pc:sldMkLst>
        <pc:spChg chg="del mod">
          <ac:chgData name="Nilesh Acharya" userId="9277199a-575d-4236-be7e-064ee6acc11b" providerId="ADAL" clId="{8F5A3035-6AEC-4A4F-82D1-6F3AD1D4A8A9}" dt="2018-12-02T09:50:07.574" v="560"/>
          <ac:spMkLst>
            <pc:docMk/>
            <pc:sldMk cId="3679015571" sldId="4695"/>
            <ac:spMk id="2" creationId="{37D0C204-D0FB-4C2D-8871-8CC178751C39}"/>
          </ac:spMkLst>
        </pc:spChg>
        <pc:spChg chg="add mod">
          <ac:chgData name="Nilesh Acharya" userId="9277199a-575d-4236-be7e-064ee6acc11b" providerId="ADAL" clId="{8F5A3035-6AEC-4A4F-82D1-6F3AD1D4A8A9}" dt="2018-12-02T09:50:07.574" v="560"/>
          <ac:spMkLst>
            <pc:docMk/>
            <pc:sldMk cId="3679015571" sldId="4695"/>
            <ac:spMk id="3" creationId="{FFF50567-E5BC-43D5-9761-DA1DBBC22557}"/>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86DA1FB-E899-469B-A34F-C38BACEE20D7}" type="doc">
      <dgm:prSet loTypeId="urn:microsoft.com/office/officeart/2005/8/layout/target3" loCatId="list" qsTypeId="urn:microsoft.com/office/officeart/2005/8/quickstyle/simple1" qsCatId="simple" csTypeId="urn:microsoft.com/office/officeart/2005/8/colors/accent1_2" csCatId="accent1" phldr="1"/>
      <dgm:spPr/>
      <dgm:t>
        <a:bodyPr/>
        <a:lstStyle/>
        <a:p>
          <a:endParaRPr lang="en-US"/>
        </a:p>
      </dgm:t>
    </dgm:pt>
    <dgm:pt modelId="{CA4C58CF-5DA4-4EE4-BF5B-6D42D846CDDC}">
      <dgm:prSet phldrT="[Text]"/>
      <dgm:spPr>
        <a:ln w="19050">
          <a:solidFill>
            <a:schemeClr val="accent1"/>
          </a:solidFill>
        </a:ln>
      </dgm:spPr>
      <dgm:t>
        <a:bodyPr/>
        <a:lstStyle/>
        <a:p>
          <a:pPr>
            <a:buClrTx/>
            <a:buSzTx/>
            <a:buFontTx/>
            <a:buNone/>
          </a:pPr>
          <a:r>
            <a:rPr kumimoji="0" lang="en-US" i="1" u="none" strike="noStrike" normalizeH="0" baseline="0" noProof="0">
              <a:ln w="0"/>
              <a:solidFill>
                <a:schemeClr val="tx1"/>
              </a:solidFill>
              <a:effectLst>
                <a:outerShdw blurRad="38100" dist="19050" dir="2700000" algn="tl" rotWithShape="0">
                  <a:schemeClr val="dk1">
                    <a:alpha val="40000"/>
                  </a:schemeClr>
                </a:outerShdw>
              </a:effectLst>
              <a:uLnTx/>
              <a:uFillTx/>
              <a:latin typeface="Segoe UI Light" panose="020B0502040204020203" pitchFamily="34" charset="0"/>
              <a:cs typeface="Segoe UI Light" panose="020B0502040204020203" pitchFamily="34" charset="0"/>
            </a:rPr>
            <a:t>“I quite like your AutoML function. It gives me good results compared to other libraries I tested before (</a:t>
          </a:r>
          <a:r>
            <a:rPr kumimoji="0" lang="en-US" i="1" u="none" strike="noStrike" normalizeH="0" baseline="0" noProof="0" err="1">
              <a:ln w="0"/>
              <a:solidFill>
                <a:schemeClr val="tx1"/>
              </a:solidFill>
              <a:effectLst>
                <a:outerShdw blurRad="38100" dist="19050" dir="2700000" algn="tl" rotWithShape="0">
                  <a:schemeClr val="dk1">
                    <a:alpha val="40000"/>
                  </a:schemeClr>
                </a:outerShdw>
              </a:effectLst>
              <a:uLnTx/>
              <a:uFillTx/>
              <a:latin typeface="Segoe UI Light" panose="020B0502040204020203" pitchFamily="34" charset="0"/>
              <a:cs typeface="Segoe UI Light" panose="020B0502040204020203" pitchFamily="34" charset="0"/>
            </a:rPr>
            <a:t>tpot</a:t>
          </a:r>
          <a:r>
            <a:rPr kumimoji="0" lang="en-US" i="1" u="none" strike="noStrike" normalizeH="0" baseline="0" noProof="0">
              <a:ln w="0"/>
              <a:solidFill>
                <a:schemeClr val="tx1"/>
              </a:solidFill>
              <a:effectLst>
                <a:outerShdw blurRad="38100" dist="19050" dir="2700000" algn="tl" rotWithShape="0">
                  <a:schemeClr val="dk1">
                    <a:alpha val="40000"/>
                  </a:schemeClr>
                </a:outerShdw>
              </a:effectLst>
              <a:uLnTx/>
              <a:uFillTx/>
              <a:latin typeface="Segoe UI Light" panose="020B0502040204020203" pitchFamily="34" charset="0"/>
              <a:cs typeface="Segoe UI Light" panose="020B0502040204020203" pitchFamily="34" charset="0"/>
            </a:rPr>
            <a:t> and auto-sklearn) that I believe was only looking at scores and often gave me models that over-trained my data. And of course the model from your suggested code is better.”</a:t>
          </a:r>
        </a:p>
        <a:p>
          <a:pPr>
            <a:buClrTx/>
            <a:buSzTx/>
            <a:buFontTx/>
            <a:buNone/>
          </a:pPr>
          <a:r>
            <a:rPr kumimoji="0" lang="en-US" b="0" i="1" u="none" strike="noStrike" cap="none" spc="0" normalizeH="0" baseline="0" noProof="0">
              <a:ln>
                <a:noFill/>
              </a:ln>
              <a:solidFill>
                <a:prstClr val="black"/>
              </a:solidFill>
              <a:effectLst/>
              <a:uLnTx/>
              <a:uFillTx/>
              <a:latin typeface="Segoe UI Light" panose="020B0502040204020203" pitchFamily="34" charset="0"/>
              <a:cs typeface="Segoe UI Light" panose="020B0502040204020203" pitchFamily="34" charset="0"/>
            </a:rPr>
            <a:t>- Big oil company</a:t>
          </a:r>
          <a:endParaRPr lang="en-US"/>
        </a:p>
      </dgm:t>
    </dgm:pt>
    <dgm:pt modelId="{088657BD-CB2D-467A-B128-DFFFCFEB9991}" type="parTrans" cxnId="{ECD2CC6C-F342-4CAB-9D74-D46DB9FC6470}">
      <dgm:prSet/>
      <dgm:spPr/>
      <dgm:t>
        <a:bodyPr/>
        <a:lstStyle/>
        <a:p>
          <a:endParaRPr lang="en-US"/>
        </a:p>
      </dgm:t>
    </dgm:pt>
    <dgm:pt modelId="{3D653318-F3C7-4908-8823-1897289034FD}" type="sibTrans" cxnId="{ECD2CC6C-F342-4CAB-9D74-D46DB9FC6470}">
      <dgm:prSet/>
      <dgm:spPr/>
      <dgm:t>
        <a:bodyPr/>
        <a:lstStyle/>
        <a:p>
          <a:endParaRPr lang="en-US"/>
        </a:p>
      </dgm:t>
    </dgm:pt>
    <dgm:pt modelId="{DE44C1A5-5469-41D3-A834-E364A365F840}">
      <dgm:prSet phldrT="[Text]"/>
      <dgm:spPr>
        <a:ln w="19050">
          <a:solidFill>
            <a:schemeClr val="accent1"/>
          </a:solidFill>
        </a:ln>
      </dgm:spPr>
      <dgm:t>
        <a:bodyPr/>
        <a:lstStyle/>
        <a:p>
          <a:pPr>
            <a:buClrTx/>
            <a:buSzTx/>
            <a:buFontTx/>
            <a:buNone/>
          </a:pPr>
          <a:r>
            <a:rPr kumimoji="0" lang="en-US" i="1" u="none" strike="noStrike" normalizeH="0" baseline="0" noProof="0">
              <a:ln w="0"/>
              <a:solidFill>
                <a:schemeClr val="tx1"/>
              </a:solidFill>
              <a:effectLst>
                <a:outerShdw blurRad="38100" dist="19050" dir="2700000" algn="tl" rotWithShape="0">
                  <a:schemeClr val="dk1">
                    <a:alpha val="40000"/>
                  </a:schemeClr>
                </a:outerShdw>
              </a:effectLst>
              <a:uLnTx/>
              <a:uFillTx/>
              <a:latin typeface="Segoe UI Light" panose="020B0502040204020203" pitchFamily="34" charset="0"/>
              <a:cs typeface="Segoe UI Light" panose="020B0502040204020203" pitchFamily="34" charset="0"/>
            </a:rPr>
            <a:t>“I will start with AutoML and use the algorithm that AutoML recommends to further tune the model”</a:t>
          </a:r>
        </a:p>
        <a:p>
          <a:pPr>
            <a:buClrTx/>
            <a:buSzTx/>
            <a:buFontTx/>
            <a:buNone/>
          </a:pPr>
          <a:r>
            <a:rPr kumimoji="0" lang="en-US" b="0" i="1" u="none" strike="noStrike" cap="none" spc="0" normalizeH="0" baseline="0" noProof="0">
              <a:ln>
                <a:noFill/>
              </a:ln>
              <a:solidFill>
                <a:prstClr val="black"/>
              </a:solidFill>
              <a:effectLst/>
              <a:uLnTx/>
              <a:uFillTx/>
              <a:latin typeface="Segoe UI Light" panose="020B0502040204020203" pitchFamily="34" charset="0"/>
              <a:cs typeface="Segoe UI Light" panose="020B0502040204020203" pitchFamily="34" charset="0"/>
            </a:rPr>
            <a:t>- Data Scientist</a:t>
          </a:r>
          <a:endParaRPr lang="en-US"/>
        </a:p>
      </dgm:t>
    </dgm:pt>
    <dgm:pt modelId="{DE002852-6FA7-4E59-A677-11E1277769D1}" type="parTrans" cxnId="{64004310-E548-439E-9C43-3D097EFC59B7}">
      <dgm:prSet/>
      <dgm:spPr/>
      <dgm:t>
        <a:bodyPr/>
        <a:lstStyle/>
        <a:p>
          <a:endParaRPr lang="en-US"/>
        </a:p>
      </dgm:t>
    </dgm:pt>
    <dgm:pt modelId="{2F68881F-F918-4716-A1F7-FC077CD10C2D}" type="sibTrans" cxnId="{64004310-E548-439E-9C43-3D097EFC59B7}">
      <dgm:prSet/>
      <dgm:spPr/>
      <dgm:t>
        <a:bodyPr/>
        <a:lstStyle/>
        <a:p>
          <a:endParaRPr lang="en-US"/>
        </a:p>
      </dgm:t>
    </dgm:pt>
    <dgm:pt modelId="{FF9713DC-B0FF-471B-975A-B60612219EC6}">
      <dgm:prSet phldrT="[Text]"/>
      <dgm:spPr>
        <a:ln w="19050">
          <a:solidFill>
            <a:schemeClr val="accent1"/>
          </a:solidFill>
        </a:ln>
      </dgm:spPr>
      <dgm:t>
        <a:bodyPr/>
        <a:lstStyle/>
        <a:p>
          <a:pPr>
            <a:buClrTx/>
            <a:buSzTx/>
            <a:buFontTx/>
            <a:buNone/>
          </a:pPr>
          <a:r>
            <a:rPr kumimoji="0" lang="en-US" b="0" i="1" u="none" strike="noStrike" cap="none" spc="0" normalizeH="0" baseline="0" noProof="0">
              <a:ln>
                <a:noFill/>
              </a:ln>
              <a:solidFill>
                <a:prstClr val="black"/>
              </a:solidFill>
              <a:effectLst/>
              <a:uLnTx/>
              <a:uFillTx/>
              <a:latin typeface="Segoe UI Light" panose="020B0502040204020203" pitchFamily="34" charset="0"/>
              <a:cs typeface="Segoe UI Light" panose="020B0502040204020203" pitchFamily="34" charset="0"/>
            </a:rPr>
            <a:t>“</a:t>
          </a:r>
          <a:r>
            <a:rPr kumimoji="0" lang="en-US" i="1" u="none" strike="noStrike" normalizeH="0" baseline="0" noProof="0">
              <a:ln w="0"/>
              <a:solidFill>
                <a:schemeClr val="tx1"/>
              </a:solidFill>
              <a:effectLst>
                <a:outerShdw blurRad="38100" dist="19050" dir="2700000" algn="tl" rotWithShape="0">
                  <a:schemeClr val="dk1">
                    <a:alpha val="40000"/>
                  </a:schemeClr>
                </a:outerShdw>
              </a:effectLst>
              <a:uLnTx/>
              <a:uFillTx/>
              <a:latin typeface="Segoe UI Light" panose="020B0502040204020203" pitchFamily="34" charset="0"/>
              <a:cs typeface="Segoe UI Light" panose="020B0502040204020203" pitchFamily="34" charset="0"/>
            </a:rPr>
            <a:t>I actually enjoy being able to use AutoML in a Jupyter notebook. The DataRobot interface was nice for non-experts, but for someone like me, it felt a bit basic.”</a:t>
          </a:r>
        </a:p>
        <a:p>
          <a:pPr>
            <a:buClrTx/>
            <a:buSzTx/>
            <a:buFontTx/>
            <a:buNone/>
          </a:pPr>
          <a:r>
            <a:rPr kumimoji="0" lang="en-US" b="0" i="1" u="none" strike="noStrike" cap="none" spc="0" normalizeH="0" baseline="0" noProof="0">
              <a:ln>
                <a:noFill/>
              </a:ln>
              <a:solidFill>
                <a:prstClr val="black"/>
              </a:solidFill>
              <a:effectLst/>
              <a:uLnTx/>
              <a:uFillTx/>
              <a:latin typeface="Segoe UI Light" panose="020B0502040204020203" pitchFamily="34" charset="0"/>
              <a:cs typeface="Segoe UI Light" panose="020B0502040204020203" pitchFamily="34" charset="0"/>
            </a:rPr>
            <a:t>- Data Scientist</a:t>
          </a:r>
          <a:endParaRPr lang="en-US"/>
        </a:p>
      </dgm:t>
    </dgm:pt>
    <dgm:pt modelId="{72184102-0761-4056-82EC-0D924692B98C}" type="parTrans" cxnId="{659C2848-D3EB-4B35-B012-EF3DA4E5F0F3}">
      <dgm:prSet/>
      <dgm:spPr/>
      <dgm:t>
        <a:bodyPr/>
        <a:lstStyle/>
        <a:p>
          <a:endParaRPr lang="en-US"/>
        </a:p>
      </dgm:t>
    </dgm:pt>
    <dgm:pt modelId="{E684B405-A3A5-498A-A867-37F3B0FA930F}" type="sibTrans" cxnId="{659C2848-D3EB-4B35-B012-EF3DA4E5F0F3}">
      <dgm:prSet/>
      <dgm:spPr/>
      <dgm:t>
        <a:bodyPr/>
        <a:lstStyle/>
        <a:p>
          <a:endParaRPr lang="en-US"/>
        </a:p>
      </dgm:t>
    </dgm:pt>
    <dgm:pt modelId="{8F8B5A0D-4E6F-4B57-982A-3E439BD8D63A}" type="pres">
      <dgm:prSet presAssocID="{386DA1FB-E899-469B-A34F-C38BACEE20D7}" presName="Name0" presStyleCnt="0">
        <dgm:presLayoutVars>
          <dgm:chMax val="7"/>
          <dgm:dir/>
          <dgm:animLvl val="lvl"/>
          <dgm:resizeHandles val="exact"/>
        </dgm:presLayoutVars>
      </dgm:prSet>
      <dgm:spPr/>
    </dgm:pt>
    <dgm:pt modelId="{B3B22119-66FC-4423-A54E-6D98E5EAF783}" type="pres">
      <dgm:prSet presAssocID="{CA4C58CF-5DA4-4EE4-BF5B-6D42D846CDDC}" presName="circle1" presStyleLbl="node1" presStyleIdx="0" presStyleCnt="3" custScaleY="88153" custLinFactNeighborY="0"/>
      <dgm:spPr/>
    </dgm:pt>
    <dgm:pt modelId="{C43F2E11-A8A0-4D42-8E03-BF080E180628}" type="pres">
      <dgm:prSet presAssocID="{CA4C58CF-5DA4-4EE4-BF5B-6D42D846CDDC}" presName="space" presStyleCnt="0"/>
      <dgm:spPr/>
    </dgm:pt>
    <dgm:pt modelId="{1380A579-1911-40DD-B77E-8D8B12E7BA1A}" type="pres">
      <dgm:prSet presAssocID="{CA4C58CF-5DA4-4EE4-BF5B-6D42D846CDDC}" presName="rect1" presStyleLbl="alignAcc1" presStyleIdx="0" presStyleCnt="3" custScaleY="89777" custLinFactNeighborX="934" custLinFactNeighborY="0"/>
      <dgm:spPr/>
    </dgm:pt>
    <dgm:pt modelId="{61C496F1-E8A9-4CD1-9BB2-FAF8D80D4434}" type="pres">
      <dgm:prSet presAssocID="{DE44C1A5-5469-41D3-A834-E364A365F840}" presName="vertSpace2" presStyleLbl="node1" presStyleIdx="0" presStyleCnt="3"/>
      <dgm:spPr/>
    </dgm:pt>
    <dgm:pt modelId="{B264E61A-EB53-4011-85CC-9C5A8C24BB4C}" type="pres">
      <dgm:prSet presAssocID="{DE44C1A5-5469-41D3-A834-E364A365F840}" presName="circle2" presStyleLbl="node1" presStyleIdx="1" presStyleCnt="3" custScaleY="90226" custLinFactNeighborX="-1006" custLinFactNeighborY="-3917"/>
      <dgm:spPr>
        <a:solidFill>
          <a:schemeClr val="bg1"/>
        </a:solidFill>
      </dgm:spPr>
    </dgm:pt>
    <dgm:pt modelId="{3C58C236-5B21-401E-902A-699372508955}" type="pres">
      <dgm:prSet presAssocID="{DE44C1A5-5469-41D3-A834-E364A365F840}" presName="rect2" presStyleLbl="alignAcc1" presStyleIdx="1" presStyleCnt="3" custScaleY="90442"/>
      <dgm:spPr/>
    </dgm:pt>
    <dgm:pt modelId="{381F2E4F-3A02-4CA1-85FE-EC7F9EB7A15E}" type="pres">
      <dgm:prSet presAssocID="{FF9713DC-B0FF-471B-975A-B60612219EC6}" presName="vertSpace3" presStyleLbl="node1" presStyleIdx="1" presStyleCnt="3"/>
      <dgm:spPr/>
    </dgm:pt>
    <dgm:pt modelId="{5985AE9A-79C5-45F0-89F7-6EA7A34A0A64}" type="pres">
      <dgm:prSet presAssocID="{FF9713DC-B0FF-471B-975A-B60612219EC6}" presName="circle3" presStyleLbl="node1" presStyleIdx="2" presStyleCnt="3" custLinFactNeighborX="-2180" custLinFactNeighborY="-2180"/>
      <dgm:spPr/>
    </dgm:pt>
    <dgm:pt modelId="{78629DF3-D668-4B64-A5A2-ED1991B29900}" type="pres">
      <dgm:prSet presAssocID="{FF9713DC-B0FF-471B-975A-B60612219EC6}" presName="rect3" presStyleLbl="alignAcc1" presStyleIdx="2" presStyleCnt="3"/>
      <dgm:spPr/>
    </dgm:pt>
    <dgm:pt modelId="{472FED81-24E2-4A09-A677-BC180C4035AE}" type="pres">
      <dgm:prSet presAssocID="{CA4C58CF-5DA4-4EE4-BF5B-6D42D846CDDC}" presName="rect1ParTxNoCh" presStyleLbl="alignAcc1" presStyleIdx="2" presStyleCnt="3">
        <dgm:presLayoutVars>
          <dgm:chMax val="1"/>
          <dgm:bulletEnabled val="1"/>
        </dgm:presLayoutVars>
      </dgm:prSet>
      <dgm:spPr/>
    </dgm:pt>
    <dgm:pt modelId="{828E5FE1-59C1-49AF-93B4-2CFDC440678B}" type="pres">
      <dgm:prSet presAssocID="{DE44C1A5-5469-41D3-A834-E364A365F840}" presName="rect2ParTxNoCh" presStyleLbl="alignAcc1" presStyleIdx="2" presStyleCnt="3">
        <dgm:presLayoutVars>
          <dgm:chMax val="1"/>
          <dgm:bulletEnabled val="1"/>
        </dgm:presLayoutVars>
      </dgm:prSet>
      <dgm:spPr/>
    </dgm:pt>
    <dgm:pt modelId="{6A89389F-076E-43AE-913D-6BCC1A3FB97C}" type="pres">
      <dgm:prSet presAssocID="{FF9713DC-B0FF-471B-975A-B60612219EC6}" presName="rect3ParTxNoCh" presStyleLbl="alignAcc1" presStyleIdx="2" presStyleCnt="3">
        <dgm:presLayoutVars>
          <dgm:chMax val="1"/>
          <dgm:bulletEnabled val="1"/>
        </dgm:presLayoutVars>
      </dgm:prSet>
      <dgm:spPr/>
    </dgm:pt>
  </dgm:ptLst>
  <dgm:cxnLst>
    <dgm:cxn modelId="{64004310-E548-439E-9C43-3D097EFC59B7}" srcId="{386DA1FB-E899-469B-A34F-C38BACEE20D7}" destId="{DE44C1A5-5469-41D3-A834-E364A365F840}" srcOrd="1" destOrd="0" parTransId="{DE002852-6FA7-4E59-A677-11E1277769D1}" sibTransId="{2F68881F-F918-4716-A1F7-FC077CD10C2D}"/>
    <dgm:cxn modelId="{659C2848-D3EB-4B35-B012-EF3DA4E5F0F3}" srcId="{386DA1FB-E899-469B-A34F-C38BACEE20D7}" destId="{FF9713DC-B0FF-471B-975A-B60612219EC6}" srcOrd="2" destOrd="0" parTransId="{72184102-0761-4056-82EC-0D924692B98C}" sibTransId="{E684B405-A3A5-498A-A867-37F3B0FA930F}"/>
    <dgm:cxn modelId="{ECD2CC6C-F342-4CAB-9D74-D46DB9FC6470}" srcId="{386DA1FB-E899-469B-A34F-C38BACEE20D7}" destId="{CA4C58CF-5DA4-4EE4-BF5B-6D42D846CDDC}" srcOrd="0" destOrd="0" parTransId="{088657BD-CB2D-467A-B128-DFFFCFEB9991}" sibTransId="{3D653318-F3C7-4908-8823-1897289034FD}"/>
    <dgm:cxn modelId="{A8CA1B83-18B3-45A4-BB40-CC2E72B4CFC8}" type="presOf" srcId="{FF9713DC-B0FF-471B-975A-B60612219EC6}" destId="{6A89389F-076E-43AE-913D-6BCC1A3FB97C}" srcOrd="1" destOrd="0" presId="urn:microsoft.com/office/officeart/2005/8/layout/target3"/>
    <dgm:cxn modelId="{1B2A2A84-D0D4-46FE-94B1-DE1235B8DC07}" type="presOf" srcId="{CA4C58CF-5DA4-4EE4-BF5B-6D42D846CDDC}" destId="{472FED81-24E2-4A09-A677-BC180C4035AE}" srcOrd="1" destOrd="0" presId="urn:microsoft.com/office/officeart/2005/8/layout/target3"/>
    <dgm:cxn modelId="{CC82B28B-9A08-467C-91C9-17C3E261E973}" type="presOf" srcId="{CA4C58CF-5DA4-4EE4-BF5B-6D42D846CDDC}" destId="{1380A579-1911-40DD-B77E-8D8B12E7BA1A}" srcOrd="0" destOrd="0" presId="urn:microsoft.com/office/officeart/2005/8/layout/target3"/>
    <dgm:cxn modelId="{F6FAAE9B-4B7E-43B3-91F1-F68ABBDDB498}" type="presOf" srcId="{386DA1FB-E899-469B-A34F-C38BACEE20D7}" destId="{8F8B5A0D-4E6F-4B57-982A-3E439BD8D63A}" srcOrd="0" destOrd="0" presId="urn:microsoft.com/office/officeart/2005/8/layout/target3"/>
    <dgm:cxn modelId="{911A3CC6-0E95-4BAA-9BAE-FD6A93A0D564}" type="presOf" srcId="{FF9713DC-B0FF-471B-975A-B60612219EC6}" destId="{78629DF3-D668-4B64-A5A2-ED1991B29900}" srcOrd="0" destOrd="0" presId="urn:microsoft.com/office/officeart/2005/8/layout/target3"/>
    <dgm:cxn modelId="{EDE698DF-3668-4B68-9769-E1750C58E691}" type="presOf" srcId="{DE44C1A5-5469-41D3-A834-E364A365F840}" destId="{828E5FE1-59C1-49AF-93B4-2CFDC440678B}" srcOrd="1" destOrd="0" presId="urn:microsoft.com/office/officeart/2005/8/layout/target3"/>
    <dgm:cxn modelId="{475505FF-D608-4472-B88D-35B16541E4AD}" type="presOf" srcId="{DE44C1A5-5469-41D3-A834-E364A365F840}" destId="{3C58C236-5B21-401E-902A-699372508955}" srcOrd="0" destOrd="0" presId="urn:microsoft.com/office/officeart/2005/8/layout/target3"/>
    <dgm:cxn modelId="{FD8B8C14-2E5B-4DD0-85C4-A4EDE5BAEC82}" type="presParOf" srcId="{8F8B5A0D-4E6F-4B57-982A-3E439BD8D63A}" destId="{B3B22119-66FC-4423-A54E-6D98E5EAF783}" srcOrd="0" destOrd="0" presId="urn:microsoft.com/office/officeart/2005/8/layout/target3"/>
    <dgm:cxn modelId="{1ADE3956-2C87-4974-B966-167AFAC8D15D}" type="presParOf" srcId="{8F8B5A0D-4E6F-4B57-982A-3E439BD8D63A}" destId="{C43F2E11-A8A0-4D42-8E03-BF080E180628}" srcOrd="1" destOrd="0" presId="urn:microsoft.com/office/officeart/2005/8/layout/target3"/>
    <dgm:cxn modelId="{677C004E-0EE8-48F8-BF57-5314EFA72B58}" type="presParOf" srcId="{8F8B5A0D-4E6F-4B57-982A-3E439BD8D63A}" destId="{1380A579-1911-40DD-B77E-8D8B12E7BA1A}" srcOrd="2" destOrd="0" presId="urn:microsoft.com/office/officeart/2005/8/layout/target3"/>
    <dgm:cxn modelId="{AAD1AD5B-E303-4FFA-82E8-36707907B301}" type="presParOf" srcId="{8F8B5A0D-4E6F-4B57-982A-3E439BD8D63A}" destId="{61C496F1-E8A9-4CD1-9BB2-FAF8D80D4434}" srcOrd="3" destOrd="0" presId="urn:microsoft.com/office/officeart/2005/8/layout/target3"/>
    <dgm:cxn modelId="{42D385DC-9C7D-49CF-8CB7-5CF4D79E25F9}" type="presParOf" srcId="{8F8B5A0D-4E6F-4B57-982A-3E439BD8D63A}" destId="{B264E61A-EB53-4011-85CC-9C5A8C24BB4C}" srcOrd="4" destOrd="0" presId="urn:microsoft.com/office/officeart/2005/8/layout/target3"/>
    <dgm:cxn modelId="{DC4F4E0C-8ECB-4AB7-98DF-D0819E351B77}" type="presParOf" srcId="{8F8B5A0D-4E6F-4B57-982A-3E439BD8D63A}" destId="{3C58C236-5B21-401E-902A-699372508955}" srcOrd="5" destOrd="0" presId="urn:microsoft.com/office/officeart/2005/8/layout/target3"/>
    <dgm:cxn modelId="{98C7C989-BA36-48A1-A06E-0B624205B793}" type="presParOf" srcId="{8F8B5A0D-4E6F-4B57-982A-3E439BD8D63A}" destId="{381F2E4F-3A02-4CA1-85FE-EC7F9EB7A15E}" srcOrd="6" destOrd="0" presId="urn:microsoft.com/office/officeart/2005/8/layout/target3"/>
    <dgm:cxn modelId="{FA0C7ACE-B5B0-48A2-8B11-71BAB00D0E74}" type="presParOf" srcId="{8F8B5A0D-4E6F-4B57-982A-3E439BD8D63A}" destId="{5985AE9A-79C5-45F0-89F7-6EA7A34A0A64}" srcOrd="7" destOrd="0" presId="urn:microsoft.com/office/officeart/2005/8/layout/target3"/>
    <dgm:cxn modelId="{19A6AAC5-589D-4B98-A29A-09408EED5D9A}" type="presParOf" srcId="{8F8B5A0D-4E6F-4B57-982A-3E439BD8D63A}" destId="{78629DF3-D668-4B64-A5A2-ED1991B29900}" srcOrd="8" destOrd="0" presId="urn:microsoft.com/office/officeart/2005/8/layout/target3"/>
    <dgm:cxn modelId="{25205885-7BB5-4E4F-B60C-3163BB62EDCA}" type="presParOf" srcId="{8F8B5A0D-4E6F-4B57-982A-3E439BD8D63A}" destId="{472FED81-24E2-4A09-A677-BC180C4035AE}" srcOrd="9" destOrd="0" presId="urn:microsoft.com/office/officeart/2005/8/layout/target3"/>
    <dgm:cxn modelId="{6CAC33D1-75A9-424C-9197-BC34B1C4A0D5}" type="presParOf" srcId="{8F8B5A0D-4E6F-4B57-982A-3E439BD8D63A}" destId="{828E5FE1-59C1-49AF-93B4-2CFDC440678B}" srcOrd="10" destOrd="0" presId="urn:microsoft.com/office/officeart/2005/8/layout/target3"/>
    <dgm:cxn modelId="{9906295F-C710-4C13-A0E7-CFBF46D79D69}" type="presParOf" srcId="{8F8B5A0D-4E6F-4B57-982A-3E439BD8D63A}" destId="{6A89389F-076E-43AE-913D-6BCC1A3FB97C}" srcOrd="11" destOrd="0" presId="urn:microsoft.com/office/officeart/2005/8/layout/targe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4D0D801-4DB2-414D-96D9-924E02E38CE8}"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46D9E477-80B2-41AF-AB8D-605A14C8F362}">
      <dgm:prSet phldrT="[Text]"/>
      <dgm:spPr/>
      <dgm:t>
        <a:bodyPr/>
        <a:lstStyle/>
        <a:p>
          <a:r>
            <a:rPr lang="en-US" dirty="0"/>
            <a:t>Model Explain-ability </a:t>
          </a:r>
        </a:p>
      </dgm:t>
    </dgm:pt>
    <dgm:pt modelId="{D21EFDF7-EE87-455F-816D-88FB991788F5}" type="parTrans" cxnId="{F6614DEE-3B14-4C3A-A748-0956F22E0ACF}">
      <dgm:prSet/>
      <dgm:spPr/>
      <dgm:t>
        <a:bodyPr/>
        <a:lstStyle/>
        <a:p>
          <a:endParaRPr lang="en-US"/>
        </a:p>
      </dgm:t>
    </dgm:pt>
    <dgm:pt modelId="{C11F84A8-5B6B-46FF-A1AA-D9C9B641F220}" type="sibTrans" cxnId="{F6614DEE-3B14-4C3A-A748-0956F22E0ACF}">
      <dgm:prSet/>
      <dgm:spPr/>
      <dgm:t>
        <a:bodyPr/>
        <a:lstStyle/>
        <a:p>
          <a:endParaRPr lang="en-US"/>
        </a:p>
      </dgm:t>
    </dgm:pt>
    <dgm:pt modelId="{7FFB02E5-7293-41B5-9198-E09ADF04B7AC}">
      <dgm:prSet phldrT="[Text]"/>
      <dgm:spPr/>
      <dgm:t>
        <a:bodyPr/>
        <a:lstStyle/>
        <a:p>
          <a:r>
            <a:rPr lang="en-US" dirty="0"/>
            <a:t>Azure Databricks</a:t>
          </a:r>
        </a:p>
      </dgm:t>
    </dgm:pt>
    <dgm:pt modelId="{6E057E93-11C5-4BC9-B7E9-0EA31A1521AC}" type="parTrans" cxnId="{1DD51593-D273-4CD0-8E10-B93CA4724F42}">
      <dgm:prSet/>
      <dgm:spPr/>
      <dgm:t>
        <a:bodyPr/>
        <a:lstStyle/>
        <a:p>
          <a:endParaRPr lang="en-US"/>
        </a:p>
      </dgm:t>
    </dgm:pt>
    <dgm:pt modelId="{E19E8115-34F1-4AC6-90C1-AE6B9CEA6718}" type="sibTrans" cxnId="{1DD51593-D273-4CD0-8E10-B93CA4724F42}">
      <dgm:prSet/>
      <dgm:spPr/>
      <dgm:t>
        <a:bodyPr/>
        <a:lstStyle/>
        <a:p>
          <a:endParaRPr lang="en-US"/>
        </a:p>
      </dgm:t>
    </dgm:pt>
    <dgm:pt modelId="{76695FB0-D087-4948-B96D-48CD971AE22E}">
      <dgm:prSet custT="1"/>
      <dgm:spPr/>
      <dgm:t>
        <a:bodyPr/>
        <a:lstStyle/>
        <a:p>
          <a:r>
            <a:rPr lang="en-US" sz="1700" kern="1200" dirty="0">
              <a:solidFill>
                <a:prstClr val="black">
                  <a:hueOff val="0"/>
                  <a:satOff val="0"/>
                  <a:lumOff val="0"/>
                  <a:alphaOff val="0"/>
                </a:prstClr>
              </a:solidFill>
              <a:latin typeface="Segoe UI Light" panose="020B0502040204020203" pitchFamily="34" charset="0"/>
              <a:ea typeface="+mn-ea"/>
              <a:cs typeface="Segoe UI Light" panose="020B0502040204020203" pitchFamily="34" charset="0"/>
            </a:rPr>
            <a:t>Feature importance as part of training</a:t>
          </a:r>
        </a:p>
      </dgm:t>
    </dgm:pt>
    <dgm:pt modelId="{CE100022-6FEF-4725-8F0B-1346CCC340CB}" type="parTrans" cxnId="{664812FE-713A-4CC8-9042-8C7477523F0A}">
      <dgm:prSet/>
      <dgm:spPr/>
      <dgm:t>
        <a:bodyPr/>
        <a:lstStyle/>
        <a:p>
          <a:endParaRPr lang="en-US"/>
        </a:p>
      </dgm:t>
    </dgm:pt>
    <dgm:pt modelId="{BC4CFAA7-C7ED-4D1D-A7D1-B0A3ACEE2480}" type="sibTrans" cxnId="{664812FE-713A-4CC8-9042-8C7477523F0A}">
      <dgm:prSet/>
      <dgm:spPr/>
      <dgm:t>
        <a:bodyPr/>
        <a:lstStyle/>
        <a:p>
          <a:endParaRPr lang="en-US"/>
        </a:p>
      </dgm:t>
    </dgm:pt>
    <dgm:pt modelId="{BF590DA8-1192-41EC-AB7C-0CD9485D3360}">
      <dgm:prSet custT="1"/>
      <dgm:spPr/>
      <dgm:t>
        <a:bodyPr/>
        <a:lstStyle/>
        <a:p>
          <a:r>
            <a:rPr lang="en-US" sz="1700" kern="1200" dirty="0">
              <a:solidFill>
                <a:prstClr val="black">
                  <a:hueOff val="0"/>
                  <a:satOff val="0"/>
                  <a:lumOff val="0"/>
                  <a:alphaOff val="0"/>
                </a:prstClr>
              </a:solidFill>
              <a:latin typeface="Segoe UI Light" panose="020B0502040204020203" pitchFamily="34" charset="0"/>
              <a:ea typeface="+mn-ea"/>
              <a:cs typeface="Segoe UI Light" panose="020B0502040204020203" pitchFamily="34" charset="0"/>
            </a:rPr>
            <a:t>Simple UX for feature importance for a selected iteration</a:t>
          </a:r>
        </a:p>
      </dgm:t>
    </dgm:pt>
    <dgm:pt modelId="{AA57A4E2-7D78-457F-B022-0C0497152AAA}" type="parTrans" cxnId="{8A0FBA31-830E-4C92-A60C-1D4703CD4373}">
      <dgm:prSet/>
      <dgm:spPr/>
      <dgm:t>
        <a:bodyPr/>
        <a:lstStyle/>
        <a:p>
          <a:endParaRPr lang="en-US"/>
        </a:p>
      </dgm:t>
    </dgm:pt>
    <dgm:pt modelId="{C28112DD-9CF7-4903-9D55-E9043BEE6CCA}" type="sibTrans" cxnId="{8A0FBA31-830E-4C92-A60C-1D4703CD4373}">
      <dgm:prSet/>
      <dgm:spPr/>
      <dgm:t>
        <a:bodyPr/>
        <a:lstStyle/>
        <a:p>
          <a:endParaRPr lang="en-US"/>
        </a:p>
      </dgm:t>
    </dgm:pt>
    <dgm:pt modelId="{94FA8220-C6D4-47A6-BD96-20F86B90D45D}">
      <dgm:prSet custT="1"/>
      <dgm:spPr/>
      <dgm:t>
        <a:bodyPr/>
        <a:lstStyle/>
        <a:p>
          <a:r>
            <a:rPr lang="en-US" sz="1700" kern="1200" dirty="0">
              <a:solidFill>
                <a:prstClr val="black">
                  <a:hueOff val="0"/>
                  <a:satOff val="0"/>
                  <a:lumOff val="0"/>
                  <a:alphaOff val="0"/>
                </a:prstClr>
              </a:solidFill>
              <a:latin typeface="Segoe UI Light" panose="020B0502040204020203" pitchFamily="34" charset="0"/>
              <a:ea typeface="+mn-ea"/>
              <a:cs typeface="Segoe UI Light" panose="020B0502040204020203" pitchFamily="34" charset="0"/>
            </a:rPr>
            <a:t>Local feature importance for a given sample</a:t>
          </a:r>
        </a:p>
      </dgm:t>
    </dgm:pt>
    <dgm:pt modelId="{47B456FB-6FF6-4A03-ABF5-91A80B1FF27F}" type="parTrans" cxnId="{63542524-D9AF-4864-8A41-91BDACAB7CE4}">
      <dgm:prSet/>
      <dgm:spPr/>
      <dgm:t>
        <a:bodyPr/>
        <a:lstStyle/>
        <a:p>
          <a:endParaRPr lang="en-US"/>
        </a:p>
      </dgm:t>
    </dgm:pt>
    <dgm:pt modelId="{3B66DAE5-3704-4554-B351-24806E72D69D}" type="sibTrans" cxnId="{63542524-D9AF-4864-8A41-91BDACAB7CE4}">
      <dgm:prSet/>
      <dgm:spPr/>
      <dgm:t>
        <a:bodyPr/>
        <a:lstStyle/>
        <a:p>
          <a:endParaRPr lang="en-US"/>
        </a:p>
      </dgm:t>
    </dgm:pt>
    <dgm:pt modelId="{8BC7D728-4F89-4054-BD4C-D19F298A5ED8}">
      <dgm:prSet custT="1"/>
      <dgm:spPr/>
      <dgm:t>
        <a:bodyPr/>
        <a:lstStyle/>
        <a:p>
          <a:r>
            <a:rPr lang="en-US" sz="1700" kern="1200" dirty="0">
              <a:solidFill>
                <a:prstClr val="black">
                  <a:hueOff val="0"/>
                  <a:satOff val="0"/>
                  <a:lumOff val="0"/>
                  <a:alphaOff val="0"/>
                </a:prstClr>
              </a:solidFill>
              <a:latin typeface="Segoe UI Light" panose="020B0502040204020203" pitchFamily="34" charset="0"/>
              <a:ea typeface="+mn-ea"/>
              <a:cs typeface="Segoe UI Light" panose="020B0502040204020203" pitchFamily="34" charset="0"/>
            </a:rPr>
            <a:t>Azure Databricks integration</a:t>
          </a:r>
        </a:p>
      </dgm:t>
    </dgm:pt>
    <dgm:pt modelId="{7915F7BC-CB9F-47F8-94EF-7C5599ED1576}" type="parTrans" cxnId="{14A42ACC-FD4E-41E0-8D95-0F5896B745B7}">
      <dgm:prSet/>
      <dgm:spPr/>
      <dgm:t>
        <a:bodyPr/>
        <a:lstStyle/>
        <a:p>
          <a:endParaRPr lang="en-US"/>
        </a:p>
      </dgm:t>
    </dgm:pt>
    <dgm:pt modelId="{203CB17C-7A58-44B7-A3AE-7D127E96F5AB}" type="sibTrans" cxnId="{14A42ACC-FD4E-41E0-8D95-0F5896B745B7}">
      <dgm:prSet/>
      <dgm:spPr/>
      <dgm:t>
        <a:bodyPr/>
        <a:lstStyle/>
        <a:p>
          <a:endParaRPr lang="en-US"/>
        </a:p>
      </dgm:t>
    </dgm:pt>
    <dgm:pt modelId="{AC49D1CF-4B68-49F3-8015-DFA830E2E01D}">
      <dgm:prSet custT="1"/>
      <dgm:spPr/>
      <dgm:t>
        <a:bodyPr/>
        <a:lstStyle/>
        <a:p>
          <a:r>
            <a:rPr lang="en-US" sz="1700" kern="1200" dirty="0">
              <a:solidFill>
                <a:prstClr val="black">
                  <a:hueOff val="0"/>
                  <a:satOff val="0"/>
                  <a:lumOff val="0"/>
                  <a:alphaOff val="0"/>
                </a:prstClr>
              </a:solidFill>
              <a:latin typeface="Segoe UI Light" panose="020B0502040204020203" pitchFamily="34" charset="0"/>
              <a:ea typeface="+mn-ea"/>
              <a:cs typeface="Segoe UI Light" panose="020B0502040204020203" pitchFamily="34" charset="0"/>
            </a:rPr>
            <a:t>Improved Performance</a:t>
          </a:r>
        </a:p>
      </dgm:t>
    </dgm:pt>
    <dgm:pt modelId="{CDC052EE-722D-4648-91CE-798D859EA1B4}" type="parTrans" cxnId="{F4896A82-9DED-45D4-9016-F19C2BC36EDA}">
      <dgm:prSet/>
      <dgm:spPr/>
      <dgm:t>
        <a:bodyPr/>
        <a:lstStyle/>
        <a:p>
          <a:endParaRPr lang="en-US"/>
        </a:p>
      </dgm:t>
    </dgm:pt>
    <dgm:pt modelId="{712B0D9E-8643-421E-8B4D-365493DFCC06}" type="sibTrans" cxnId="{F4896A82-9DED-45D4-9016-F19C2BC36EDA}">
      <dgm:prSet/>
      <dgm:spPr/>
      <dgm:t>
        <a:bodyPr/>
        <a:lstStyle/>
        <a:p>
          <a:endParaRPr lang="en-US"/>
        </a:p>
      </dgm:t>
    </dgm:pt>
    <dgm:pt modelId="{6F920151-F738-4F3F-B9D3-DE3A3E5BC7EC}">
      <dgm:prSet custT="1"/>
      <dgm:spPr/>
      <dgm:t>
        <a:bodyPr/>
        <a:lstStyle/>
        <a:p>
          <a:r>
            <a:rPr lang="en-US" sz="1700" kern="1200" dirty="0">
              <a:solidFill>
                <a:prstClr val="black">
                  <a:hueOff val="0"/>
                  <a:satOff val="0"/>
                  <a:lumOff val="0"/>
                  <a:alphaOff val="0"/>
                </a:prstClr>
              </a:solidFill>
              <a:latin typeface="Segoe UI Light" panose="020B0502040204020203" pitchFamily="34" charset="0"/>
              <a:ea typeface="+mn-ea"/>
              <a:cs typeface="Segoe UI Light" panose="020B0502040204020203" pitchFamily="34" charset="0"/>
            </a:rPr>
            <a:t>Support Remote Compute</a:t>
          </a:r>
        </a:p>
      </dgm:t>
    </dgm:pt>
    <dgm:pt modelId="{53B5BD12-ED66-4348-B12C-FAE0119BAC03}" type="parTrans" cxnId="{04C9813D-FD37-45A0-8F20-7285E63E42FD}">
      <dgm:prSet/>
      <dgm:spPr/>
      <dgm:t>
        <a:bodyPr/>
        <a:lstStyle/>
        <a:p>
          <a:endParaRPr lang="en-US"/>
        </a:p>
      </dgm:t>
    </dgm:pt>
    <dgm:pt modelId="{7C9ABE0E-12DE-470D-BB6B-F1C8F871E781}" type="sibTrans" cxnId="{04C9813D-FD37-45A0-8F20-7285E63E42FD}">
      <dgm:prSet/>
      <dgm:spPr/>
      <dgm:t>
        <a:bodyPr/>
        <a:lstStyle/>
        <a:p>
          <a:endParaRPr lang="en-US"/>
        </a:p>
      </dgm:t>
    </dgm:pt>
    <dgm:pt modelId="{64153260-7A06-40A8-8AA3-F3C0C2F29613}">
      <dgm:prSet custT="1"/>
      <dgm:spPr/>
      <dgm:t>
        <a:bodyPr/>
        <a:lstStyle/>
        <a:p>
          <a:r>
            <a:rPr lang="en-US" sz="1700" kern="1200" dirty="0">
              <a:solidFill>
                <a:prstClr val="black">
                  <a:hueOff val="0"/>
                  <a:satOff val="0"/>
                  <a:lumOff val="0"/>
                  <a:alphaOff val="0"/>
                </a:prstClr>
              </a:solidFill>
              <a:latin typeface="Segoe UI Light" panose="020B0502040204020203" pitchFamily="34" charset="0"/>
              <a:ea typeface="+mn-ea"/>
              <a:cs typeface="Segoe UI Light" panose="020B0502040204020203" pitchFamily="34" charset="0"/>
            </a:rPr>
            <a:t>Raw Feature importance</a:t>
          </a:r>
        </a:p>
      </dgm:t>
    </dgm:pt>
    <dgm:pt modelId="{0F935090-9912-4948-ACF1-E2FD334A556A}" type="parTrans" cxnId="{47BDF7E8-A595-48B6-A24E-BEB06DB97FDF}">
      <dgm:prSet/>
      <dgm:spPr/>
      <dgm:t>
        <a:bodyPr/>
        <a:lstStyle/>
        <a:p>
          <a:endParaRPr lang="en-US"/>
        </a:p>
      </dgm:t>
    </dgm:pt>
    <dgm:pt modelId="{9B0E7B68-040F-4345-8FEB-8C3C7C5360D0}" type="sibTrans" cxnId="{47BDF7E8-A595-48B6-A24E-BEB06DB97FDF}">
      <dgm:prSet/>
      <dgm:spPr/>
      <dgm:t>
        <a:bodyPr/>
        <a:lstStyle/>
        <a:p>
          <a:endParaRPr lang="en-US"/>
        </a:p>
      </dgm:t>
    </dgm:pt>
    <dgm:pt modelId="{BBFB909D-926E-4C0E-84E9-0441B486DB45}">
      <dgm:prSet custT="1"/>
      <dgm:spPr/>
      <dgm:t>
        <a:bodyPr/>
        <a:lstStyle/>
        <a:p>
          <a:r>
            <a:rPr lang="en-US" sz="1700" kern="1200" dirty="0">
              <a:solidFill>
                <a:prstClr val="black">
                  <a:hueOff val="0"/>
                  <a:satOff val="0"/>
                  <a:lumOff val="0"/>
                  <a:alphaOff val="0"/>
                </a:prstClr>
              </a:solidFill>
              <a:latin typeface="Segoe UI Light" panose="020B0502040204020203" pitchFamily="34" charset="0"/>
              <a:ea typeface="+mn-ea"/>
              <a:cs typeface="Segoe UI Light" panose="020B0502040204020203" pitchFamily="34" charset="0"/>
            </a:rPr>
            <a:t>Prediction time feature importance</a:t>
          </a:r>
        </a:p>
      </dgm:t>
    </dgm:pt>
    <dgm:pt modelId="{ADFEAA81-136A-46C9-9E23-8070CAC2C421}" type="parTrans" cxnId="{C2F914A3-77F1-4E2F-9339-B4E7B1B6F041}">
      <dgm:prSet/>
      <dgm:spPr/>
      <dgm:t>
        <a:bodyPr/>
        <a:lstStyle/>
        <a:p>
          <a:endParaRPr lang="en-US"/>
        </a:p>
      </dgm:t>
    </dgm:pt>
    <dgm:pt modelId="{43BF3CE6-98BE-4598-8B4E-12B92CE8ACB2}" type="sibTrans" cxnId="{C2F914A3-77F1-4E2F-9339-B4E7B1B6F041}">
      <dgm:prSet/>
      <dgm:spPr/>
      <dgm:t>
        <a:bodyPr/>
        <a:lstStyle/>
        <a:p>
          <a:endParaRPr lang="en-US"/>
        </a:p>
      </dgm:t>
    </dgm:pt>
    <dgm:pt modelId="{C9C396C6-6170-4E8D-8FE6-ADDD382A8F14}">
      <dgm:prSet custT="1"/>
      <dgm:spPr/>
      <dgm:t>
        <a:bodyPr/>
        <a:lstStyle/>
        <a:p>
          <a:r>
            <a:rPr lang="en-US" sz="1700" kern="1200" dirty="0">
              <a:solidFill>
                <a:prstClr val="black">
                  <a:hueOff val="0"/>
                  <a:satOff val="0"/>
                  <a:lumOff val="0"/>
                  <a:alphaOff val="0"/>
                </a:prstClr>
              </a:solidFill>
              <a:latin typeface="Segoe UI Light" panose="020B0502040204020203" pitchFamily="34" charset="0"/>
              <a:ea typeface="+mn-ea"/>
              <a:cs typeface="Segoe UI Light" panose="020B0502040204020203" pitchFamily="34" charset="0"/>
            </a:rPr>
            <a:t>Roadmap</a:t>
          </a:r>
        </a:p>
      </dgm:t>
    </dgm:pt>
    <dgm:pt modelId="{743C3F29-1524-4AF0-9EF3-108CA16CDA22}" type="parTrans" cxnId="{8090649F-E06C-4A16-BCCA-05B0BF19236F}">
      <dgm:prSet/>
      <dgm:spPr/>
      <dgm:t>
        <a:bodyPr/>
        <a:lstStyle/>
        <a:p>
          <a:endParaRPr lang="en-US"/>
        </a:p>
      </dgm:t>
    </dgm:pt>
    <dgm:pt modelId="{47100FD2-BB13-428C-8F9A-760CD803A71E}" type="sibTrans" cxnId="{8090649F-E06C-4A16-BCCA-05B0BF19236F}">
      <dgm:prSet/>
      <dgm:spPr/>
      <dgm:t>
        <a:bodyPr/>
        <a:lstStyle/>
        <a:p>
          <a:endParaRPr lang="en-US"/>
        </a:p>
      </dgm:t>
    </dgm:pt>
    <dgm:pt modelId="{BBE4517C-671A-487D-A83A-16CC94FBD12C}">
      <dgm:prSet custT="1"/>
      <dgm:spPr/>
      <dgm:t>
        <a:bodyPr/>
        <a:lstStyle/>
        <a:p>
          <a:endParaRPr lang="en-US" sz="1700" kern="1200" dirty="0">
            <a:solidFill>
              <a:prstClr val="black">
                <a:hueOff val="0"/>
                <a:satOff val="0"/>
                <a:lumOff val="0"/>
                <a:alphaOff val="0"/>
              </a:prstClr>
            </a:solidFill>
            <a:latin typeface="Segoe UI Light" panose="020B0502040204020203" pitchFamily="34" charset="0"/>
            <a:ea typeface="+mn-ea"/>
            <a:cs typeface="Segoe UI Light" panose="020B0502040204020203" pitchFamily="34" charset="0"/>
          </a:endParaRPr>
        </a:p>
      </dgm:t>
    </dgm:pt>
    <dgm:pt modelId="{BDE07E27-B333-432C-92F1-9E1548280282}" type="parTrans" cxnId="{E3621140-E621-4B4D-AD9C-9D7FB52B1D8E}">
      <dgm:prSet/>
      <dgm:spPr/>
      <dgm:t>
        <a:bodyPr/>
        <a:lstStyle/>
        <a:p>
          <a:endParaRPr lang="en-US"/>
        </a:p>
      </dgm:t>
    </dgm:pt>
    <dgm:pt modelId="{C245D6AA-1BE1-4728-84D4-310AD1C2A3AD}" type="sibTrans" cxnId="{E3621140-E621-4B4D-AD9C-9D7FB52B1D8E}">
      <dgm:prSet/>
      <dgm:spPr/>
      <dgm:t>
        <a:bodyPr/>
        <a:lstStyle/>
        <a:p>
          <a:endParaRPr lang="en-US"/>
        </a:p>
      </dgm:t>
    </dgm:pt>
    <dgm:pt modelId="{D57E207F-9A16-4EEF-9287-91D53D2D6BE7}">
      <dgm:prSet phldrT="[Text]"/>
      <dgm:spPr/>
      <dgm:t>
        <a:bodyPr/>
        <a:lstStyle/>
        <a:p>
          <a:pPr>
            <a:buFont typeface="Arial" panose="020B0604020202020204" pitchFamily="34" charset="0"/>
            <a:buChar char="•"/>
          </a:pPr>
          <a:r>
            <a:rPr lang="en-US">
              <a:latin typeface="Segoe UI Light" panose="020B0502040204020203" pitchFamily="34" charset="0"/>
              <a:cs typeface="Segoe UI Light" panose="020B0502040204020203" pitchFamily="34" charset="0"/>
            </a:rPr>
            <a:t>Parallel run of iterations on Azure Databricks cluster</a:t>
          </a:r>
          <a:endParaRPr lang="en-US" dirty="0"/>
        </a:p>
      </dgm:t>
    </dgm:pt>
    <dgm:pt modelId="{6991CB6E-BF7A-4A53-A26D-31A174E0A40D}" type="parTrans" cxnId="{6E3C87F8-D45C-4200-A204-D6F684C1720E}">
      <dgm:prSet/>
      <dgm:spPr/>
      <dgm:t>
        <a:bodyPr/>
        <a:lstStyle/>
        <a:p>
          <a:endParaRPr lang="en-US"/>
        </a:p>
      </dgm:t>
    </dgm:pt>
    <dgm:pt modelId="{804189A9-2E11-4132-BA73-3CA82743B8F7}" type="sibTrans" cxnId="{6E3C87F8-D45C-4200-A204-D6F684C1720E}">
      <dgm:prSet/>
      <dgm:spPr/>
      <dgm:t>
        <a:bodyPr/>
        <a:lstStyle/>
        <a:p>
          <a:endParaRPr lang="en-US"/>
        </a:p>
      </dgm:t>
    </dgm:pt>
    <dgm:pt modelId="{96564B1C-C2FA-4171-A319-8FC48BA5C1BA}">
      <dgm:prSet/>
      <dgm:spPr/>
      <dgm:t>
        <a:bodyPr/>
        <a:lstStyle/>
        <a:p>
          <a:r>
            <a:rPr lang="en-US" dirty="0">
              <a:latin typeface="Segoe UI Light" panose="020B0502040204020203" pitchFamily="34" charset="0"/>
              <a:cs typeface="Segoe UI Light" panose="020B0502040204020203" pitchFamily="34" charset="0"/>
            </a:rPr>
            <a:t>Support for latest Azure Databricks 4.x and 5.x non-ML runtimes</a:t>
          </a:r>
        </a:p>
      </dgm:t>
    </dgm:pt>
    <dgm:pt modelId="{44C7AB30-61C1-4A9E-9744-05784A7C888C}" type="parTrans" cxnId="{111A5680-3A56-4DE2-BC01-36C2FFAE62D9}">
      <dgm:prSet/>
      <dgm:spPr/>
      <dgm:t>
        <a:bodyPr/>
        <a:lstStyle/>
        <a:p>
          <a:endParaRPr lang="en-US"/>
        </a:p>
      </dgm:t>
    </dgm:pt>
    <dgm:pt modelId="{10FBACE5-ABD0-4FAD-806B-4ECFBE56C11D}" type="sibTrans" cxnId="{111A5680-3A56-4DE2-BC01-36C2FFAE62D9}">
      <dgm:prSet/>
      <dgm:spPr/>
      <dgm:t>
        <a:bodyPr/>
        <a:lstStyle/>
        <a:p>
          <a:endParaRPr lang="en-US"/>
        </a:p>
      </dgm:t>
    </dgm:pt>
    <dgm:pt modelId="{27D9AF21-51F6-42AC-A226-ED9D4BED58EE}">
      <dgm:prSet/>
      <dgm:spPr/>
      <dgm:t>
        <a:bodyPr/>
        <a:lstStyle/>
        <a:p>
          <a:r>
            <a:rPr lang="en-US" dirty="0">
              <a:latin typeface="Segoe UI Light" panose="020B0502040204020203" pitchFamily="34" charset="0"/>
              <a:cs typeface="Segoe UI Light" panose="020B0502040204020203" pitchFamily="34" charset="0"/>
            </a:rPr>
            <a:t>Easy install on Azure Databricks cluster with a single integrated automated ML &amp; AML SDK package</a:t>
          </a:r>
        </a:p>
      </dgm:t>
    </dgm:pt>
    <dgm:pt modelId="{19C4387E-7526-4BF5-A539-10D5462C3A6A}" type="parTrans" cxnId="{F3E09810-D811-4C7A-BD48-CF66A0A13293}">
      <dgm:prSet/>
      <dgm:spPr/>
      <dgm:t>
        <a:bodyPr/>
        <a:lstStyle/>
        <a:p>
          <a:endParaRPr lang="en-US"/>
        </a:p>
      </dgm:t>
    </dgm:pt>
    <dgm:pt modelId="{74480034-5A8B-4F2C-97F6-91F6C1F9BC6D}" type="sibTrans" cxnId="{F3E09810-D811-4C7A-BD48-CF66A0A13293}">
      <dgm:prSet/>
      <dgm:spPr/>
      <dgm:t>
        <a:bodyPr/>
        <a:lstStyle/>
        <a:p>
          <a:endParaRPr lang="en-US"/>
        </a:p>
      </dgm:t>
    </dgm:pt>
    <dgm:pt modelId="{85343157-8BAE-4D80-B105-B8CFA47FC458}">
      <dgm:prSet/>
      <dgm:spPr/>
      <dgm:t>
        <a:bodyPr/>
        <a:lstStyle/>
        <a:p>
          <a:r>
            <a:rPr lang="en-US" dirty="0">
              <a:latin typeface="Segoe UI Light" panose="020B0502040204020203" pitchFamily="34" charset="0"/>
              <a:cs typeface="Segoe UI Light" panose="020B0502040204020203" pitchFamily="34" charset="0"/>
            </a:rPr>
            <a:t>Roadmap</a:t>
          </a:r>
        </a:p>
      </dgm:t>
    </dgm:pt>
    <dgm:pt modelId="{15CB0076-35F5-4761-B2D9-B922848D3FC7}" type="parTrans" cxnId="{0407E048-B25D-47D3-BD48-8FB3A83F0EAE}">
      <dgm:prSet/>
      <dgm:spPr/>
      <dgm:t>
        <a:bodyPr/>
        <a:lstStyle/>
        <a:p>
          <a:endParaRPr lang="en-US"/>
        </a:p>
      </dgm:t>
    </dgm:pt>
    <dgm:pt modelId="{E336EBA3-9EF6-4548-8EAE-66ED45779F4C}" type="sibTrans" cxnId="{0407E048-B25D-47D3-BD48-8FB3A83F0EAE}">
      <dgm:prSet/>
      <dgm:spPr/>
      <dgm:t>
        <a:bodyPr/>
        <a:lstStyle/>
        <a:p>
          <a:endParaRPr lang="en-US"/>
        </a:p>
      </dgm:t>
    </dgm:pt>
    <dgm:pt modelId="{FC29BBCA-BB15-4EFE-AEB8-0FEAD2768DE1}">
      <dgm:prSet/>
      <dgm:spPr/>
      <dgm:t>
        <a:bodyPr/>
        <a:lstStyle/>
        <a:p>
          <a:endParaRPr lang="en-US" dirty="0">
            <a:latin typeface="Segoe UI Light" panose="020B0502040204020203" pitchFamily="34" charset="0"/>
            <a:cs typeface="Segoe UI Light" panose="020B0502040204020203" pitchFamily="34" charset="0"/>
          </a:endParaRPr>
        </a:p>
      </dgm:t>
    </dgm:pt>
    <dgm:pt modelId="{1909A705-4B37-4C3D-9213-1032DC003FF4}" type="parTrans" cxnId="{9A786D88-7718-40D6-BE2A-587A8C70CAD0}">
      <dgm:prSet/>
      <dgm:spPr/>
      <dgm:t>
        <a:bodyPr/>
        <a:lstStyle/>
        <a:p>
          <a:endParaRPr lang="en-US"/>
        </a:p>
      </dgm:t>
    </dgm:pt>
    <dgm:pt modelId="{F2376660-582F-43E4-A177-E6500B5A49BF}" type="sibTrans" cxnId="{9A786D88-7718-40D6-BE2A-587A8C70CAD0}">
      <dgm:prSet/>
      <dgm:spPr/>
      <dgm:t>
        <a:bodyPr/>
        <a:lstStyle/>
        <a:p>
          <a:endParaRPr lang="en-US"/>
        </a:p>
      </dgm:t>
    </dgm:pt>
    <dgm:pt modelId="{1202B434-197A-48BB-AD57-BD473AA48833}">
      <dgm:prSet/>
      <dgm:spPr/>
      <dgm:t>
        <a:bodyPr/>
        <a:lstStyle/>
        <a:p>
          <a:pPr>
            <a:buFont typeface="Arial" panose="020B0604020202020204" pitchFamily="34" charset="0"/>
            <a:buChar char="•"/>
          </a:pPr>
          <a:r>
            <a:rPr lang="en-US" dirty="0">
              <a:latin typeface="Segoe UI Light" panose="020B0502040204020203" pitchFamily="34" charset="0"/>
              <a:cs typeface="Segoe UI Light" panose="020B0502040204020203" pitchFamily="34" charset="0"/>
            </a:rPr>
            <a:t>Azure Databricks integration</a:t>
          </a:r>
        </a:p>
      </dgm:t>
    </dgm:pt>
    <dgm:pt modelId="{91FBEAA2-87D0-465F-A15B-E1F0E4C0453F}" type="parTrans" cxnId="{74F4650E-CA13-4938-925A-FCA8C9FFD784}">
      <dgm:prSet/>
      <dgm:spPr/>
      <dgm:t>
        <a:bodyPr/>
        <a:lstStyle/>
        <a:p>
          <a:endParaRPr lang="en-US"/>
        </a:p>
      </dgm:t>
    </dgm:pt>
    <dgm:pt modelId="{46FD339B-71BF-4403-A137-46ACCEFF210D}" type="sibTrans" cxnId="{74F4650E-CA13-4938-925A-FCA8C9FFD784}">
      <dgm:prSet/>
      <dgm:spPr/>
      <dgm:t>
        <a:bodyPr/>
        <a:lstStyle/>
        <a:p>
          <a:endParaRPr lang="en-US"/>
        </a:p>
      </dgm:t>
    </dgm:pt>
    <dgm:pt modelId="{25D3BA8E-E021-4E7E-AE65-EB65FE9EE20C}">
      <dgm:prSet/>
      <dgm:spPr/>
      <dgm:t>
        <a:bodyPr/>
        <a:lstStyle/>
        <a:p>
          <a:r>
            <a:rPr lang="en-US" dirty="0">
              <a:latin typeface="Segoe UI Light" panose="020B0502040204020203" pitchFamily="34" charset="0"/>
              <a:cs typeface="Segoe UI Light" panose="020B0502040204020203" pitchFamily="34" charset="0"/>
            </a:rPr>
            <a:t>Improved Performance</a:t>
          </a:r>
        </a:p>
      </dgm:t>
    </dgm:pt>
    <dgm:pt modelId="{7172BE54-D663-4049-9A3F-FCC345BBBE00}" type="parTrans" cxnId="{2A2AC8CD-A1E8-4298-A732-B215CBA39E1C}">
      <dgm:prSet/>
      <dgm:spPr/>
      <dgm:t>
        <a:bodyPr/>
        <a:lstStyle/>
        <a:p>
          <a:endParaRPr lang="en-US"/>
        </a:p>
      </dgm:t>
    </dgm:pt>
    <dgm:pt modelId="{27ABA5FA-407D-44BB-8581-F21DC4BA1FF4}" type="sibTrans" cxnId="{2A2AC8CD-A1E8-4298-A732-B215CBA39E1C}">
      <dgm:prSet/>
      <dgm:spPr/>
      <dgm:t>
        <a:bodyPr/>
        <a:lstStyle/>
        <a:p>
          <a:endParaRPr lang="en-US"/>
        </a:p>
      </dgm:t>
    </dgm:pt>
    <dgm:pt modelId="{D2B32CAB-F3B5-4A6A-A06B-0C950A1C30D6}">
      <dgm:prSet/>
      <dgm:spPr/>
      <dgm:t>
        <a:bodyPr/>
        <a:lstStyle/>
        <a:p>
          <a:r>
            <a:rPr lang="en-US">
              <a:latin typeface="Segoe UI Light" panose="020B0502040204020203" pitchFamily="34" charset="0"/>
              <a:cs typeface="Segoe UI Light" panose="020B0502040204020203" pitchFamily="34" charset="0"/>
            </a:rPr>
            <a:t>Support Remote Compute</a:t>
          </a:r>
          <a:endParaRPr lang="en-US" dirty="0">
            <a:latin typeface="Segoe UI Light" panose="020B0502040204020203" pitchFamily="34" charset="0"/>
            <a:cs typeface="Segoe UI Light" panose="020B0502040204020203" pitchFamily="34" charset="0"/>
          </a:endParaRPr>
        </a:p>
      </dgm:t>
    </dgm:pt>
    <dgm:pt modelId="{4E82E4D5-1F16-4E97-BC1C-D8D4F83D3DF1}" type="parTrans" cxnId="{B744B7EE-A1FD-4F10-B8D8-CD36B831619E}">
      <dgm:prSet/>
      <dgm:spPr/>
      <dgm:t>
        <a:bodyPr/>
        <a:lstStyle/>
        <a:p>
          <a:endParaRPr lang="en-US"/>
        </a:p>
      </dgm:t>
    </dgm:pt>
    <dgm:pt modelId="{1455001A-F7FF-4415-A769-63A11A3BAE71}" type="sibTrans" cxnId="{B744B7EE-A1FD-4F10-B8D8-CD36B831619E}">
      <dgm:prSet/>
      <dgm:spPr/>
      <dgm:t>
        <a:bodyPr/>
        <a:lstStyle/>
        <a:p>
          <a:endParaRPr lang="en-US"/>
        </a:p>
      </dgm:t>
    </dgm:pt>
    <dgm:pt modelId="{8C3549E2-322C-4E4A-8B0B-5FC2389141F3}">
      <dgm:prSet/>
      <dgm:spPr/>
      <dgm:t>
        <a:bodyPr/>
        <a:lstStyle/>
        <a:p>
          <a:r>
            <a:rPr lang="en-US">
              <a:latin typeface="Segoe UI Light" panose="020B0502040204020203" pitchFamily="34" charset="0"/>
              <a:cs typeface="Segoe UI Light" panose="020B0502040204020203" pitchFamily="34" charset="0"/>
            </a:rPr>
            <a:t>Raw Feature importance</a:t>
          </a:r>
          <a:endParaRPr lang="en-US" dirty="0">
            <a:latin typeface="Segoe UI Light" panose="020B0502040204020203" pitchFamily="34" charset="0"/>
            <a:cs typeface="Segoe UI Light" panose="020B0502040204020203" pitchFamily="34" charset="0"/>
          </a:endParaRPr>
        </a:p>
      </dgm:t>
    </dgm:pt>
    <dgm:pt modelId="{6F9661AB-2AC6-494B-991D-1786F82EE005}" type="parTrans" cxnId="{7E0953EA-2B94-4AD0-AFFE-997FD924B490}">
      <dgm:prSet/>
      <dgm:spPr/>
      <dgm:t>
        <a:bodyPr/>
        <a:lstStyle/>
        <a:p>
          <a:endParaRPr lang="en-US"/>
        </a:p>
      </dgm:t>
    </dgm:pt>
    <dgm:pt modelId="{03CF09C0-3033-4D12-BE2B-21DF70182716}" type="sibTrans" cxnId="{7E0953EA-2B94-4AD0-AFFE-997FD924B490}">
      <dgm:prSet/>
      <dgm:spPr/>
      <dgm:t>
        <a:bodyPr/>
        <a:lstStyle/>
        <a:p>
          <a:endParaRPr lang="en-US"/>
        </a:p>
      </dgm:t>
    </dgm:pt>
    <dgm:pt modelId="{5074DEEC-2FB9-4966-BE2C-1E3483121BEF}">
      <dgm:prSet/>
      <dgm:spPr/>
      <dgm:t>
        <a:bodyPr/>
        <a:lstStyle/>
        <a:p>
          <a:r>
            <a:rPr lang="en-US" dirty="0">
              <a:latin typeface="Segoe UI Light" panose="020B0502040204020203" pitchFamily="34" charset="0"/>
              <a:cs typeface="Segoe UI Light" panose="020B0502040204020203" pitchFamily="34" charset="0"/>
            </a:rPr>
            <a:t>Prediction time feature importance</a:t>
          </a:r>
        </a:p>
      </dgm:t>
    </dgm:pt>
    <dgm:pt modelId="{3CA6F09E-EFDD-4446-A28A-581665585089}" type="parTrans" cxnId="{729CA77C-5BDB-4881-9D13-03D6F2FB79C7}">
      <dgm:prSet/>
      <dgm:spPr/>
      <dgm:t>
        <a:bodyPr/>
        <a:lstStyle/>
        <a:p>
          <a:endParaRPr lang="en-US"/>
        </a:p>
      </dgm:t>
    </dgm:pt>
    <dgm:pt modelId="{4907204D-DF67-4AE2-9ADB-1AE9E5768208}" type="sibTrans" cxnId="{729CA77C-5BDB-4881-9D13-03D6F2FB79C7}">
      <dgm:prSet/>
      <dgm:spPr/>
      <dgm:t>
        <a:bodyPr/>
        <a:lstStyle/>
        <a:p>
          <a:endParaRPr lang="en-US"/>
        </a:p>
      </dgm:t>
    </dgm:pt>
    <dgm:pt modelId="{4D7620CE-9FA5-456E-A8A1-995A996F2A5E}">
      <dgm:prSet/>
      <dgm:spPr/>
      <dgm:t>
        <a:bodyPr/>
        <a:lstStyle/>
        <a:p>
          <a:r>
            <a:rPr lang="en-US" b="1" dirty="0">
              <a:latin typeface="Segoe UI Light" panose="020B0502040204020203" pitchFamily="34" charset="0"/>
              <a:cs typeface="Segoe UI Light" panose="020B0502040204020203" pitchFamily="34" charset="0"/>
            </a:rPr>
            <a:t>Forecasting</a:t>
          </a:r>
        </a:p>
      </dgm:t>
    </dgm:pt>
    <dgm:pt modelId="{BCAAA9D6-D5D6-47C6-B441-DA5224F94C6F}" type="parTrans" cxnId="{20F86252-5E14-437E-9D97-51F3D6D9C984}">
      <dgm:prSet/>
      <dgm:spPr/>
      <dgm:t>
        <a:bodyPr/>
        <a:lstStyle/>
        <a:p>
          <a:endParaRPr lang="en-US"/>
        </a:p>
      </dgm:t>
    </dgm:pt>
    <dgm:pt modelId="{FC910A9F-E7C7-49C1-A620-82715832724C}" type="sibTrans" cxnId="{20F86252-5E14-437E-9D97-51F3D6D9C984}">
      <dgm:prSet/>
      <dgm:spPr/>
      <dgm:t>
        <a:bodyPr/>
        <a:lstStyle/>
        <a:p>
          <a:endParaRPr lang="en-US"/>
        </a:p>
      </dgm:t>
    </dgm:pt>
    <dgm:pt modelId="{65C8DB75-D82A-4B1B-B4EB-982C913DD755}">
      <dgm:prSet/>
      <dgm:spPr/>
      <dgm:t>
        <a:bodyPr/>
        <a:lstStyle/>
        <a:p>
          <a:pPr>
            <a:buFont typeface="Arial" panose="020B0604020202020204" pitchFamily="34" charset="0"/>
            <a:buChar char="•"/>
          </a:pPr>
          <a:r>
            <a:rPr lang="en-US" dirty="0">
              <a:latin typeface="Segoe UI Light" panose="020B0502040204020203" pitchFamily="34" charset="0"/>
              <a:cs typeface="Segoe UI Light" panose="020B0502040204020203" pitchFamily="34" charset="0"/>
            </a:rPr>
            <a:t>Grain Index Featurization &amp; Grouping</a:t>
          </a:r>
        </a:p>
      </dgm:t>
    </dgm:pt>
    <dgm:pt modelId="{4C4FAFBA-464D-4430-A508-BC020EB6E451}" type="parTrans" cxnId="{3C0CC57F-D34C-48F0-8EFB-28DDE55C4C09}">
      <dgm:prSet/>
      <dgm:spPr/>
      <dgm:t>
        <a:bodyPr/>
        <a:lstStyle/>
        <a:p>
          <a:endParaRPr lang="en-US"/>
        </a:p>
      </dgm:t>
    </dgm:pt>
    <dgm:pt modelId="{860C935D-7C3D-4A95-839D-781EAB709765}" type="sibTrans" cxnId="{3C0CC57F-D34C-48F0-8EFB-28DDE55C4C09}">
      <dgm:prSet/>
      <dgm:spPr/>
      <dgm:t>
        <a:bodyPr/>
        <a:lstStyle/>
        <a:p>
          <a:endParaRPr lang="en-US"/>
        </a:p>
      </dgm:t>
    </dgm:pt>
    <dgm:pt modelId="{799C64D0-0822-4FDD-A8A2-13C0E9EF813F}">
      <dgm:prSet/>
      <dgm:spPr/>
      <dgm:t>
        <a:bodyPr/>
        <a:lstStyle/>
        <a:p>
          <a:r>
            <a:rPr lang="en-US" dirty="0">
              <a:latin typeface="Segoe UI Light" panose="020B0502040204020203" pitchFamily="34" charset="0"/>
              <a:cs typeface="Segoe UI Light" panose="020B0502040204020203" pitchFamily="34" charset="0"/>
            </a:rPr>
            <a:t>Missing row imputation, including target column</a:t>
          </a:r>
        </a:p>
      </dgm:t>
    </dgm:pt>
    <dgm:pt modelId="{7B6B673F-5A95-4969-9FA4-8E22C7CD9991}" type="parTrans" cxnId="{7053298A-90BD-4B04-A9A0-079D9F2BA824}">
      <dgm:prSet/>
      <dgm:spPr/>
      <dgm:t>
        <a:bodyPr/>
        <a:lstStyle/>
        <a:p>
          <a:endParaRPr lang="en-US"/>
        </a:p>
      </dgm:t>
    </dgm:pt>
    <dgm:pt modelId="{54C369CC-EE67-4640-81F8-0EF89FC4F5DC}" type="sibTrans" cxnId="{7053298A-90BD-4B04-A9A0-079D9F2BA824}">
      <dgm:prSet/>
      <dgm:spPr/>
      <dgm:t>
        <a:bodyPr/>
        <a:lstStyle/>
        <a:p>
          <a:endParaRPr lang="en-US"/>
        </a:p>
      </dgm:t>
    </dgm:pt>
    <dgm:pt modelId="{0AB93559-6FEE-47C5-A2E8-04B405AAD561}">
      <dgm:prSet/>
      <dgm:spPr/>
      <dgm:t>
        <a:bodyPr/>
        <a:lstStyle/>
        <a:p>
          <a:r>
            <a:rPr lang="en-US">
              <a:latin typeface="Segoe UI Light" panose="020B0502040204020203" pitchFamily="34" charset="0"/>
              <a:cs typeface="Segoe UI Light" panose="020B0502040204020203" pitchFamily="34" charset="0"/>
            </a:rPr>
            <a:t>Improved time index featurization</a:t>
          </a:r>
          <a:endParaRPr lang="en-US" dirty="0">
            <a:latin typeface="Segoe UI Light" panose="020B0502040204020203" pitchFamily="34" charset="0"/>
            <a:cs typeface="Segoe UI Light" panose="020B0502040204020203" pitchFamily="34" charset="0"/>
          </a:endParaRPr>
        </a:p>
      </dgm:t>
    </dgm:pt>
    <dgm:pt modelId="{4639BC48-B04F-48AD-812C-5266E7C24A83}" type="parTrans" cxnId="{F812A355-4B88-40EB-961F-59C1EA801BAA}">
      <dgm:prSet/>
      <dgm:spPr/>
      <dgm:t>
        <a:bodyPr/>
        <a:lstStyle/>
        <a:p>
          <a:endParaRPr lang="en-US"/>
        </a:p>
      </dgm:t>
    </dgm:pt>
    <dgm:pt modelId="{033881D9-CF0D-420D-96B8-845B2FE9B9B1}" type="sibTrans" cxnId="{F812A355-4B88-40EB-961F-59C1EA801BAA}">
      <dgm:prSet/>
      <dgm:spPr/>
      <dgm:t>
        <a:bodyPr/>
        <a:lstStyle/>
        <a:p>
          <a:endParaRPr lang="en-US"/>
        </a:p>
      </dgm:t>
    </dgm:pt>
    <dgm:pt modelId="{E9582BE3-7722-4C94-A1A8-9AB01B8ACE5E}">
      <dgm:prSet/>
      <dgm:spPr/>
      <dgm:t>
        <a:bodyPr/>
        <a:lstStyle/>
        <a:p>
          <a:r>
            <a:rPr lang="en-US">
              <a:latin typeface="Segoe UI Light" panose="020B0502040204020203" pitchFamily="34" charset="0"/>
              <a:cs typeface="Segoe UI Light" panose="020B0502040204020203" pitchFamily="34" charset="0"/>
            </a:rPr>
            <a:t>Guidance on time-series specific train/validation/test split</a:t>
          </a:r>
          <a:endParaRPr lang="en-US" dirty="0">
            <a:latin typeface="Segoe UI Light" panose="020B0502040204020203" pitchFamily="34" charset="0"/>
            <a:cs typeface="Segoe UI Light" panose="020B0502040204020203" pitchFamily="34" charset="0"/>
          </a:endParaRPr>
        </a:p>
      </dgm:t>
    </dgm:pt>
    <dgm:pt modelId="{1A865A09-FC51-4CCE-963F-5B87BA21B9E3}" type="parTrans" cxnId="{E2476E8D-C39E-4094-868C-EBC93887A162}">
      <dgm:prSet/>
      <dgm:spPr/>
      <dgm:t>
        <a:bodyPr/>
        <a:lstStyle/>
        <a:p>
          <a:endParaRPr lang="en-US"/>
        </a:p>
      </dgm:t>
    </dgm:pt>
    <dgm:pt modelId="{DE4459A7-9C3B-4951-A27C-94644383C801}" type="sibTrans" cxnId="{E2476E8D-C39E-4094-868C-EBC93887A162}">
      <dgm:prSet/>
      <dgm:spPr/>
      <dgm:t>
        <a:bodyPr/>
        <a:lstStyle/>
        <a:p>
          <a:endParaRPr lang="en-US"/>
        </a:p>
      </dgm:t>
    </dgm:pt>
    <dgm:pt modelId="{FE494E8E-0F8B-4B77-9C63-5D7A44D7E9F1}">
      <dgm:prSet/>
      <dgm:spPr/>
      <dgm:t>
        <a:bodyPr/>
        <a:lstStyle/>
        <a:p>
          <a:r>
            <a:rPr lang="en-US">
              <a:latin typeface="Segoe UI Light" panose="020B0502040204020203" pitchFamily="34" charset="0"/>
              <a:cs typeface="Segoe UI Light" panose="020B0502040204020203" pitchFamily="34" charset="0"/>
            </a:rPr>
            <a:t>Drop Column </a:t>
          </a:r>
          <a:endParaRPr lang="en-US" dirty="0">
            <a:latin typeface="Segoe UI Light" panose="020B0502040204020203" pitchFamily="34" charset="0"/>
            <a:cs typeface="Segoe UI Light" panose="020B0502040204020203" pitchFamily="34" charset="0"/>
          </a:endParaRPr>
        </a:p>
      </dgm:t>
    </dgm:pt>
    <dgm:pt modelId="{54ED60D1-3B12-4EDA-85DE-E005BF555703}" type="parTrans" cxnId="{71B1F9AB-9F6B-4B3B-AA7E-352D83887E7F}">
      <dgm:prSet/>
      <dgm:spPr/>
      <dgm:t>
        <a:bodyPr/>
        <a:lstStyle/>
        <a:p>
          <a:endParaRPr lang="en-US"/>
        </a:p>
      </dgm:t>
    </dgm:pt>
    <dgm:pt modelId="{8F8D140D-1E1F-4C30-8DB7-2C035FFEA7F5}" type="sibTrans" cxnId="{71B1F9AB-9F6B-4B3B-AA7E-352D83887E7F}">
      <dgm:prSet/>
      <dgm:spPr/>
      <dgm:t>
        <a:bodyPr/>
        <a:lstStyle/>
        <a:p>
          <a:endParaRPr lang="en-US"/>
        </a:p>
      </dgm:t>
    </dgm:pt>
    <dgm:pt modelId="{9464A29B-BA1D-4998-A9DB-D1978F274FA8}">
      <dgm:prSet/>
      <dgm:spPr/>
      <dgm:t>
        <a:bodyPr/>
        <a:lstStyle/>
        <a:p>
          <a:r>
            <a:rPr lang="en-US" dirty="0">
              <a:latin typeface="Segoe UI Light" panose="020B0502040204020203" pitchFamily="34" charset="0"/>
              <a:cs typeface="Segoe UI Light" panose="020B0502040204020203" pitchFamily="34" charset="0"/>
            </a:rPr>
            <a:t>Roadmap</a:t>
          </a:r>
        </a:p>
      </dgm:t>
    </dgm:pt>
    <dgm:pt modelId="{255FADAD-B7D7-4DDF-840A-7A15C4332CE7}" type="parTrans" cxnId="{44111670-D327-4208-B4CF-5CAEE7453656}">
      <dgm:prSet/>
      <dgm:spPr/>
      <dgm:t>
        <a:bodyPr/>
        <a:lstStyle/>
        <a:p>
          <a:endParaRPr lang="en-US"/>
        </a:p>
      </dgm:t>
    </dgm:pt>
    <dgm:pt modelId="{08412DED-912E-4A14-9849-548BDFCD4B45}" type="sibTrans" cxnId="{44111670-D327-4208-B4CF-5CAEE7453656}">
      <dgm:prSet/>
      <dgm:spPr/>
      <dgm:t>
        <a:bodyPr/>
        <a:lstStyle/>
        <a:p>
          <a:endParaRPr lang="en-US"/>
        </a:p>
      </dgm:t>
    </dgm:pt>
    <dgm:pt modelId="{D3ED4A61-8FD0-4C1B-AA3A-1C6D39800FC9}">
      <dgm:prSet/>
      <dgm:spPr/>
      <dgm:t>
        <a:bodyPr/>
        <a:lstStyle/>
        <a:p>
          <a:endParaRPr lang="en-US" dirty="0">
            <a:latin typeface="Segoe UI Light" panose="020B0502040204020203" pitchFamily="34" charset="0"/>
            <a:cs typeface="Segoe UI Light" panose="020B0502040204020203" pitchFamily="34" charset="0"/>
          </a:endParaRPr>
        </a:p>
      </dgm:t>
    </dgm:pt>
    <dgm:pt modelId="{96124256-C094-430C-884F-F1AB9926DC4C}" type="parTrans" cxnId="{5BD5537B-6A07-40FE-8109-D78D7EC7F24D}">
      <dgm:prSet/>
      <dgm:spPr/>
      <dgm:t>
        <a:bodyPr/>
        <a:lstStyle/>
        <a:p>
          <a:endParaRPr lang="en-US"/>
        </a:p>
      </dgm:t>
    </dgm:pt>
    <dgm:pt modelId="{D3C3D1B3-458A-446D-A590-6AA3E6ACA282}" type="sibTrans" cxnId="{5BD5537B-6A07-40FE-8109-D78D7EC7F24D}">
      <dgm:prSet/>
      <dgm:spPr/>
      <dgm:t>
        <a:bodyPr/>
        <a:lstStyle/>
        <a:p>
          <a:endParaRPr lang="en-US"/>
        </a:p>
      </dgm:t>
    </dgm:pt>
    <dgm:pt modelId="{418566A0-1385-4DBD-B8A0-F9884EBF35A5}">
      <dgm:prSet/>
      <dgm:spPr/>
      <dgm:t>
        <a:bodyPr/>
        <a:lstStyle/>
        <a:p>
          <a:pPr>
            <a:buFont typeface="Arial" panose="020B0604020202020204" pitchFamily="34" charset="0"/>
            <a:buChar char="•"/>
          </a:pPr>
          <a:r>
            <a:rPr lang="en-US" dirty="0">
              <a:latin typeface="Segoe UI Light" panose="020B0502040204020203" pitchFamily="34" charset="0"/>
              <a:cs typeface="Segoe UI Light" panose="020B0502040204020203" pitchFamily="34" charset="0"/>
            </a:rPr>
            <a:t>Confidence Interval</a:t>
          </a:r>
        </a:p>
      </dgm:t>
    </dgm:pt>
    <dgm:pt modelId="{120EF354-FE56-46CE-91E9-1250B145960F}" type="parTrans" cxnId="{6DCBFFD9-E1D1-4516-9E06-53E3B43DE592}">
      <dgm:prSet/>
      <dgm:spPr/>
      <dgm:t>
        <a:bodyPr/>
        <a:lstStyle/>
        <a:p>
          <a:endParaRPr lang="en-US"/>
        </a:p>
      </dgm:t>
    </dgm:pt>
    <dgm:pt modelId="{5EDFB792-2B52-4795-A3A6-C3A76DE4DB0D}" type="sibTrans" cxnId="{6DCBFFD9-E1D1-4516-9E06-53E3B43DE592}">
      <dgm:prSet/>
      <dgm:spPr/>
      <dgm:t>
        <a:bodyPr/>
        <a:lstStyle/>
        <a:p>
          <a:endParaRPr lang="en-US"/>
        </a:p>
      </dgm:t>
    </dgm:pt>
    <dgm:pt modelId="{98F03C09-BD04-4E9D-8FC6-372FFC8CC2CC}">
      <dgm:prSet/>
      <dgm:spPr/>
      <dgm:t>
        <a:bodyPr/>
        <a:lstStyle/>
        <a:p>
          <a:r>
            <a:rPr lang="en-US">
              <a:latin typeface="Segoe UI Light" panose="020B0502040204020203" pitchFamily="34" charset="0"/>
              <a:cs typeface="Segoe UI Light" panose="020B0502040204020203" pitchFamily="34" charset="0"/>
            </a:rPr>
            <a:t>Lag &amp; Rolling Window</a:t>
          </a:r>
          <a:endParaRPr lang="en-US" dirty="0">
            <a:latin typeface="Segoe UI Light" panose="020B0502040204020203" pitchFamily="34" charset="0"/>
            <a:cs typeface="Segoe UI Light" panose="020B0502040204020203" pitchFamily="34" charset="0"/>
          </a:endParaRPr>
        </a:p>
      </dgm:t>
    </dgm:pt>
    <dgm:pt modelId="{12DB5BBF-B4C3-460D-81AD-BC05964E0E04}" type="parTrans" cxnId="{08AD795E-5D28-4857-A35C-178E0B578BEA}">
      <dgm:prSet/>
      <dgm:spPr/>
      <dgm:t>
        <a:bodyPr/>
        <a:lstStyle/>
        <a:p>
          <a:endParaRPr lang="en-US"/>
        </a:p>
      </dgm:t>
    </dgm:pt>
    <dgm:pt modelId="{64A209B3-43D8-4C57-9C81-8657987C411D}" type="sibTrans" cxnId="{08AD795E-5D28-4857-A35C-178E0B578BEA}">
      <dgm:prSet/>
      <dgm:spPr/>
      <dgm:t>
        <a:bodyPr/>
        <a:lstStyle/>
        <a:p>
          <a:endParaRPr lang="en-US"/>
        </a:p>
      </dgm:t>
    </dgm:pt>
    <dgm:pt modelId="{8028E004-72EE-45AD-8F77-115C01126037}">
      <dgm:prSet/>
      <dgm:spPr/>
      <dgm:t>
        <a:bodyPr/>
        <a:lstStyle/>
        <a:p>
          <a:r>
            <a:rPr lang="en-US">
              <a:latin typeface="Segoe UI Light" panose="020B0502040204020203" pitchFamily="34" charset="0"/>
              <a:cs typeface="Segoe UI Light" panose="020B0502040204020203" pitchFamily="34" charset="0"/>
            </a:rPr>
            <a:t>Rolling Origin Cross Validation</a:t>
          </a:r>
          <a:endParaRPr lang="en-US" dirty="0">
            <a:latin typeface="Segoe UI Light" panose="020B0502040204020203" pitchFamily="34" charset="0"/>
            <a:cs typeface="Segoe UI Light" panose="020B0502040204020203" pitchFamily="34" charset="0"/>
          </a:endParaRPr>
        </a:p>
      </dgm:t>
    </dgm:pt>
    <dgm:pt modelId="{F6821EB0-B3DC-4141-9E57-6298F7AFD3D4}" type="parTrans" cxnId="{1BA6DDC7-0C3B-4396-9994-FDB7BDB6C131}">
      <dgm:prSet/>
      <dgm:spPr/>
      <dgm:t>
        <a:bodyPr/>
        <a:lstStyle/>
        <a:p>
          <a:endParaRPr lang="en-US"/>
        </a:p>
      </dgm:t>
    </dgm:pt>
    <dgm:pt modelId="{A729BA47-A459-428E-8C54-9991D72CABD9}" type="sibTrans" cxnId="{1BA6DDC7-0C3B-4396-9994-FDB7BDB6C131}">
      <dgm:prSet/>
      <dgm:spPr/>
      <dgm:t>
        <a:bodyPr/>
        <a:lstStyle/>
        <a:p>
          <a:endParaRPr lang="en-US"/>
        </a:p>
      </dgm:t>
    </dgm:pt>
    <dgm:pt modelId="{6B73B26A-C0F0-4045-A52E-60C7B54FF883}">
      <dgm:prSet/>
      <dgm:spPr/>
      <dgm:t>
        <a:bodyPr/>
        <a:lstStyle/>
        <a:p>
          <a:r>
            <a:rPr lang="en-US">
              <a:latin typeface="Segoe UI Light" panose="020B0502040204020203" pitchFamily="34" charset="0"/>
              <a:cs typeface="Segoe UI Light" panose="020B0502040204020203" pitchFamily="34" charset="0"/>
            </a:rPr>
            <a:t>External Dataset</a:t>
          </a:r>
          <a:endParaRPr lang="en-US" dirty="0">
            <a:latin typeface="Segoe UI Light" panose="020B0502040204020203" pitchFamily="34" charset="0"/>
            <a:cs typeface="Segoe UI Light" panose="020B0502040204020203" pitchFamily="34" charset="0"/>
          </a:endParaRPr>
        </a:p>
      </dgm:t>
    </dgm:pt>
    <dgm:pt modelId="{330F9AD1-EB2E-47E3-913B-26DD1159410A}" type="parTrans" cxnId="{955E5453-1CD7-4BE7-8B5D-7F60AFE292FC}">
      <dgm:prSet/>
      <dgm:spPr/>
      <dgm:t>
        <a:bodyPr/>
        <a:lstStyle/>
        <a:p>
          <a:endParaRPr lang="en-US"/>
        </a:p>
      </dgm:t>
    </dgm:pt>
    <dgm:pt modelId="{C8599887-35B8-40B7-939E-87056C851FDC}" type="sibTrans" cxnId="{955E5453-1CD7-4BE7-8B5D-7F60AFE292FC}">
      <dgm:prSet/>
      <dgm:spPr/>
      <dgm:t>
        <a:bodyPr/>
        <a:lstStyle/>
        <a:p>
          <a:endParaRPr lang="en-US"/>
        </a:p>
      </dgm:t>
    </dgm:pt>
    <dgm:pt modelId="{D7F657BC-5F46-4A4F-A98D-750696352262}">
      <dgm:prSet/>
      <dgm:spPr/>
      <dgm:t>
        <a:bodyPr/>
        <a:lstStyle/>
        <a:p>
          <a:r>
            <a:rPr lang="en-US">
              <a:latin typeface="Segoe UI Light" panose="020B0502040204020203" pitchFamily="34" charset="0"/>
              <a:cs typeface="Segoe UI Light" panose="020B0502040204020203" pitchFamily="34" charset="0"/>
            </a:rPr>
            <a:t>Cross Time Predication</a:t>
          </a:r>
          <a:endParaRPr lang="en-US" dirty="0">
            <a:latin typeface="Segoe UI Light" panose="020B0502040204020203" pitchFamily="34" charset="0"/>
            <a:cs typeface="Segoe UI Light" panose="020B0502040204020203" pitchFamily="34" charset="0"/>
          </a:endParaRPr>
        </a:p>
      </dgm:t>
    </dgm:pt>
    <dgm:pt modelId="{1BE94103-F44E-432C-8911-067C1928A852}" type="parTrans" cxnId="{81241EF4-D52A-40C7-81AF-B6CB2E7A4D98}">
      <dgm:prSet/>
      <dgm:spPr/>
      <dgm:t>
        <a:bodyPr/>
        <a:lstStyle/>
        <a:p>
          <a:endParaRPr lang="en-US"/>
        </a:p>
      </dgm:t>
    </dgm:pt>
    <dgm:pt modelId="{A64FC5C0-17C0-4502-8E7B-A13CB90A4B39}" type="sibTrans" cxnId="{81241EF4-D52A-40C7-81AF-B6CB2E7A4D98}">
      <dgm:prSet/>
      <dgm:spPr/>
      <dgm:t>
        <a:bodyPr/>
        <a:lstStyle/>
        <a:p>
          <a:endParaRPr lang="en-US"/>
        </a:p>
      </dgm:t>
    </dgm:pt>
    <dgm:pt modelId="{715BE04B-1E4B-4EF2-8068-3B5965F45110}" type="pres">
      <dgm:prSet presAssocID="{D4D0D801-4DB2-414D-96D9-924E02E38CE8}" presName="Name0" presStyleCnt="0">
        <dgm:presLayoutVars>
          <dgm:dir/>
          <dgm:animLvl val="lvl"/>
          <dgm:resizeHandles val="exact"/>
        </dgm:presLayoutVars>
      </dgm:prSet>
      <dgm:spPr/>
    </dgm:pt>
    <dgm:pt modelId="{50EEEBE6-4813-4C93-9277-6C607B83D2B6}" type="pres">
      <dgm:prSet presAssocID="{46D9E477-80B2-41AF-AB8D-605A14C8F362}" presName="composite" presStyleCnt="0"/>
      <dgm:spPr/>
    </dgm:pt>
    <dgm:pt modelId="{B6CF4DC0-9F3C-4DCB-9B50-270A3ECC5C96}" type="pres">
      <dgm:prSet presAssocID="{46D9E477-80B2-41AF-AB8D-605A14C8F362}" presName="parTx" presStyleLbl="alignNode1" presStyleIdx="0" presStyleCnt="3">
        <dgm:presLayoutVars>
          <dgm:chMax val="0"/>
          <dgm:chPref val="0"/>
          <dgm:bulletEnabled val="1"/>
        </dgm:presLayoutVars>
      </dgm:prSet>
      <dgm:spPr/>
    </dgm:pt>
    <dgm:pt modelId="{E3087A4C-E161-44EF-AB32-3387862D258A}" type="pres">
      <dgm:prSet presAssocID="{46D9E477-80B2-41AF-AB8D-605A14C8F362}" presName="desTx" presStyleLbl="alignAccFollowNode1" presStyleIdx="0" presStyleCnt="3">
        <dgm:presLayoutVars>
          <dgm:bulletEnabled val="1"/>
        </dgm:presLayoutVars>
      </dgm:prSet>
      <dgm:spPr/>
    </dgm:pt>
    <dgm:pt modelId="{1EA5CDA9-98BA-41F9-A3BA-6BF0272BD597}" type="pres">
      <dgm:prSet presAssocID="{C11F84A8-5B6B-46FF-A1AA-D9C9B641F220}" presName="space" presStyleCnt="0"/>
      <dgm:spPr/>
    </dgm:pt>
    <dgm:pt modelId="{A9CAABA6-F5B6-4A6C-9AD7-A892D58466BF}" type="pres">
      <dgm:prSet presAssocID="{7FFB02E5-7293-41B5-9198-E09ADF04B7AC}" presName="composite" presStyleCnt="0"/>
      <dgm:spPr/>
    </dgm:pt>
    <dgm:pt modelId="{67A4F179-E459-44B6-83A2-F58BCCA63DEF}" type="pres">
      <dgm:prSet presAssocID="{7FFB02E5-7293-41B5-9198-E09ADF04B7AC}" presName="parTx" presStyleLbl="alignNode1" presStyleIdx="1" presStyleCnt="3">
        <dgm:presLayoutVars>
          <dgm:chMax val="0"/>
          <dgm:chPref val="0"/>
          <dgm:bulletEnabled val="1"/>
        </dgm:presLayoutVars>
      </dgm:prSet>
      <dgm:spPr/>
    </dgm:pt>
    <dgm:pt modelId="{3BDBF6AC-B0E5-46A1-B878-198EA1D93963}" type="pres">
      <dgm:prSet presAssocID="{7FFB02E5-7293-41B5-9198-E09ADF04B7AC}" presName="desTx" presStyleLbl="alignAccFollowNode1" presStyleIdx="1" presStyleCnt="3">
        <dgm:presLayoutVars>
          <dgm:bulletEnabled val="1"/>
        </dgm:presLayoutVars>
      </dgm:prSet>
      <dgm:spPr/>
    </dgm:pt>
    <dgm:pt modelId="{CACAA09D-788E-47D0-B3BA-BF69172299ED}" type="pres">
      <dgm:prSet presAssocID="{E19E8115-34F1-4AC6-90C1-AE6B9CEA6718}" presName="space" presStyleCnt="0"/>
      <dgm:spPr/>
    </dgm:pt>
    <dgm:pt modelId="{DEC1F50F-2958-4CC6-AAB0-4A858C7916CF}" type="pres">
      <dgm:prSet presAssocID="{4D7620CE-9FA5-456E-A8A1-995A996F2A5E}" presName="composite" presStyleCnt="0"/>
      <dgm:spPr/>
    </dgm:pt>
    <dgm:pt modelId="{EBCD4A97-CD73-48EA-960A-FA301B577624}" type="pres">
      <dgm:prSet presAssocID="{4D7620CE-9FA5-456E-A8A1-995A996F2A5E}" presName="parTx" presStyleLbl="alignNode1" presStyleIdx="2" presStyleCnt="3">
        <dgm:presLayoutVars>
          <dgm:chMax val="0"/>
          <dgm:chPref val="0"/>
          <dgm:bulletEnabled val="1"/>
        </dgm:presLayoutVars>
      </dgm:prSet>
      <dgm:spPr/>
    </dgm:pt>
    <dgm:pt modelId="{10306505-7440-488B-9E75-8939B6AD7AED}" type="pres">
      <dgm:prSet presAssocID="{4D7620CE-9FA5-456E-A8A1-995A996F2A5E}" presName="desTx" presStyleLbl="alignAccFollowNode1" presStyleIdx="2" presStyleCnt="3">
        <dgm:presLayoutVars>
          <dgm:bulletEnabled val="1"/>
        </dgm:presLayoutVars>
      </dgm:prSet>
      <dgm:spPr/>
    </dgm:pt>
  </dgm:ptLst>
  <dgm:cxnLst>
    <dgm:cxn modelId="{74F4650E-CA13-4938-925A-FCA8C9FFD784}" srcId="{85343157-8BAE-4D80-B105-B8CFA47FC458}" destId="{1202B434-197A-48BB-AD57-BD473AA48833}" srcOrd="0" destOrd="0" parTransId="{91FBEAA2-87D0-465F-A15B-E1F0E4C0453F}" sibTransId="{46FD339B-71BF-4403-A137-46ACCEFF210D}"/>
    <dgm:cxn modelId="{F3E09810-D811-4C7A-BD48-CF66A0A13293}" srcId="{7FFB02E5-7293-41B5-9198-E09ADF04B7AC}" destId="{27D9AF21-51F6-42AC-A226-ED9D4BED58EE}" srcOrd="2" destOrd="0" parTransId="{19C4387E-7526-4BF5-A539-10D5462C3A6A}" sibTransId="{74480034-5A8B-4F2C-97F6-91F6C1F9BC6D}"/>
    <dgm:cxn modelId="{928C5C11-BAAD-4218-8B52-A5B4D630214A}" type="presOf" srcId="{FE494E8E-0F8B-4B77-9C63-5D7A44D7E9F1}" destId="{10306505-7440-488B-9E75-8939B6AD7AED}" srcOrd="0" destOrd="4" presId="urn:microsoft.com/office/officeart/2005/8/layout/hList1"/>
    <dgm:cxn modelId="{43ABEB17-2D13-4B04-84CB-BFE805BFCAFF}" type="presOf" srcId="{418566A0-1385-4DBD-B8A0-F9884EBF35A5}" destId="{10306505-7440-488B-9E75-8939B6AD7AED}" srcOrd="0" destOrd="7" presId="urn:microsoft.com/office/officeart/2005/8/layout/hList1"/>
    <dgm:cxn modelId="{A549CD18-4464-4934-A373-80F91AA44FB8}" type="presOf" srcId="{64153260-7A06-40A8-8AA3-F3C0C2F29613}" destId="{E3087A4C-E161-44EF-AB32-3387862D258A}" srcOrd="0" destOrd="8" presId="urn:microsoft.com/office/officeart/2005/8/layout/hList1"/>
    <dgm:cxn modelId="{59895223-FACD-471E-B8A9-B350203483AB}" type="presOf" srcId="{0AB93559-6FEE-47C5-A2E8-04B405AAD561}" destId="{10306505-7440-488B-9E75-8939B6AD7AED}" srcOrd="0" destOrd="2" presId="urn:microsoft.com/office/officeart/2005/8/layout/hList1"/>
    <dgm:cxn modelId="{63542524-D9AF-4864-8A41-91BDACAB7CE4}" srcId="{46D9E477-80B2-41AF-AB8D-605A14C8F362}" destId="{94FA8220-C6D4-47A6-BD96-20F86B90D45D}" srcOrd="2" destOrd="0" parTransId="{47B456FB-6FF6-4A03-ABF5-91A80B1FF27F}" sibTransId="{3B66DAE5-3704-4554-B351-24806E72D69D}"/>
    <dgm:cxn modelId="{413F1628-D0BB-4B08-A75A-7108DE9AB1EB}" type="presOf" srcId="{BBFB909D-926E-4C0E-84E9-0441B486DB45}" destId="{E3087A4C-E161-44EF-AB32-3387862D258A}" srcOrd="0" destOrd="9" presId="urn:microsoft.com/office/officeart/2005/8/layout/hList1"/>
    <dgm:cxn modelId="{6AC18629-ACC1-484A-A5F4-F83A9B628AA0}" type="presOf" srcId="{76695FB0-D087-4948-B96D-48CD971AE22E}" destId="{E3087A4C-E161-44EF-AB32-3387862D258A}" srcOrd="0" destOrd="0" presId="urn:microsoft.com/office/officeart/2005/8/layout/hList1"/>
    <dgm:cxn modelId="{8A0FBA31-830E-4C92-A60C-1D4703CD4373}" srcId="{46D9E477-80B2-41AF-AB8D-605A14C8F362}" destId="{BF590DA8-1192-41EC-AB7C-0CD9485D3360}" srcOrd="1" destOrd="0" parTransId="{AA57A4E2-7D78-457F-B022-0C0497152AAA}" sibTransId="{C28112DD-9CF7-4903-9D55-E9043BEE6CCA}"/>
    <dgm:cxn modelId="{34806A35-408D-47E4-8FAC-D6CF41A6C203}" type="presOf" srcId="{D3ED4A61-8FD0-4C1B-AA3A-1C6D39800FC9}" destId="{10306505-7440-488B-9E75-8939B6AD7AED}" srcOrd="0" destOrd="5" presId="urn:microsoft.com/office/officeart/2005/8/layout/hList1"/>
    <dgm:cxn modelId="{0532B637-6190-4158-B2F0-69757C038EB2}" type="presOf" srcId="{D7F657BC-5F46-4A4F-A98D-750696352262}" destId="{10306505-7440-488B-9E75-8939B6AD7AED}" srcOrd="0" destOrd="11" presId="urn:microsoft.com/office/officeart/2005/8/layout/hList1"/>
    <dgm:cxn modelId="{04C9813D-FD37-45A0-8F20-7285E63E42FD}" srcId="{C9C396C6-6170-4E8D-8FE6-ADDD382A8F14}" destId="{6F920151-F738-4F3F-B9D3-DE3A3E5BC7EC}" srcOrd="2" destOrd="0" parTransId="{53B5BD12-ED66-4348-B12C-FAE0119BAC03}" sibTransId="{7C9ABE0E-12DE-470D-BB6B-F1C8F871E781}"/>
    <dgm:cxn modelId="{E3621140-E621-4B4D-AD9C-9D7FB52B1D8E}" srcId="{46D9E477-80B2-41AF-AB8D-605A14C8F362}" destId="{BBE4517C-671A-487D-A83A-16CC94FBD12C}" srcOrd="3" destOrd="0" parTransId="{BDE07E27-B333-432C-92F1-9E1548280282}" sibTransId="{C245D6AA-1BE1-4728-84D4-310AD1C2A3AD}"/>
    <dgm:cxn modelId="{D410345C-5A63-402E-9D53-56F7CA0EC57A}" type="presOf" srcId="{9464A29B-BA1D-4998-A9DB-D1978F274FA8}" destId="{10306505-7440-488B-9E75-8939B6AD7AED}" srcOrd="0" destOrd="6" presId="urn:microsoft.com/office/officeart/2005/8/layout/hList1"/>
    <dgm:cxn modelId="{AB683F5C-8F21-43AA-9F53-427C74282081}" type="presOf" srcId="{8028E004-72EE-45AD-8F77-115C01126037}" destId="{10306505-7440-488B-9E75-8939B6AD7AED}" srcOrd="0" destOrd="9" presId="urn:microsoft.com/office/officeart/2005/8/layout/hList1"/>
    <dgm:cxn modelId="{08AD795E-5D28-4857-A35C-178E0B578BEA}" srcId="{9464A29B-BA1D-4998-A9DB-D1978F274FA8}" destId="{98F03C09-BD04-4E9D-8FC6-372FFC8CC2CC}" srcOrd="1" destOrd="0" parTransId="{12DB5BBF-B4C3-460D-81AD-BC05964E0E04}" sibTransId="{64A209B3-43D8-4C57-9C81-8657987C411D}"/>
    <dgm:cxn modelId="{15101364-DF4F-425E-AFED-CD3E1950938E}" type="presOf" srcId="{98F03C09-BD04-4E9D-8FC6-372FFC8CC2CC}" destId="{10306505-7440-488B-9E75-8939B6AD7AED}" srcOrd="0" destOrd="8" presId="urn:microsoft.com/office/officeart/2005/8/layout/hList1"/>
    <dgm:cxn modelId="{0407E048-B25D-47D3-BD48-8FB3A83F0EAE}" srcId="{7FFB02E5-7293-41B5-9198-E09ADF04B7AC}" destId="{85343157-8BAE-4D80-B105-B8CFA47FC458}" srcOrd="4" destOrd="0" parTransId="{15CB0076-35F5-4761-B2D9-B922848D3FC7}" sibTransId="{E336EBA3-9EF6-4548-8EAE-66ED45779F4C}"/>
    <dgm:cxn modelId="{1ECF074C-3BA9-4769-BEBF-BEFBF66062B4}" type="presOf" srcId="{8BC7D728-4F89-4054-BD4C-D19F298A5ED8}" destId="{E3087A4C-E161-44EF-AB32-3387862D258A}" srcOrd="0" destOrd="5" presId="urn:microsoft.com/office/officeart/2005/8/layout/hList1"/>
    <dgm:cxn modelId="{44111670-D327-4208-B4CF-5CAEE7453656}" srcId="{FE494E8E-0F8B-4B77-9C63-5D7A44D7E9F1}" destId="{9464A29B-BA1D-4998-A9DB-D1978F274FA8}" srcOrd="1" destOrd="0" parTransId="{255FADAD-B7D7-4DDF-840A-7A15C4332CE7}" sibTransId="{08412DED-912E-4A14-9849-548BDFCD4B45}"/>
    <dgm:cxn modelId="{12E61B70-75C5-4248-A18D-C78C060F0D4B}" type="presOf" srcId="{85343157-8BAE-4D80-B105-B8CFA47FC458}" destId="{3BDBF6AC-B0E5-46A1-B878-198EA1D93963}" srcOrd="0" destOrd="4" presId="urn:microsoft.com/office/officeart/2005/8/layout/hList1"/>
    <dgm:cxn modelId="{22943C71-70AE-4218-BE30-E180389A7009}" type="presOf" srcId="{AC49D1CF-4B68-49F3-8015-DFA830E2E01D}" destId="{E3087A4C-E161-44EF-AB32-3387862D258A}" srcOrd="0" destOrd="6" presId="urn:microsoft.com/office/officeart/2005/8/layout/hList1"/>
    <dgm:cxn modelId="{20F86252-5E14-437E-9D97-51F3D6D9C984}" srcId="{D4D0D801-4DB2-414D-96D9-924E02E38CE8}" destId="{4D7620CE-9FA5-456E-A8A1-995A996F2A5E}" srcOrd="2" destOrd="0" parTransId="{BCAAA9D6-D5D6-47C6-B441-DA5224F94C6F}" sibTransId="{FC910A9F-E7C7-49C1-A620-82715832724C}"/>
    <dgm:cxn modelId="{955E5453-1CD7-4BE7-8B5D-7F60AFE292FC}" srcId="{9464A29B-BA1D-4998-A9DB-D1978F274FA8}" destId="{6B73B26A-C0F0-4045-A52E-60C7B54FF883}" srcOrd="3" destOrd="0" parTransId="{330F9AD1-EB2E-47E3-913B-26DD1159410A}" sibTransId="{C8599887-35B8-40B7-939E-87056C851FDC}"/>
    <dgm:cxn modelId="{F812A355-4B88-40EB-961F-59C1EA801BAA}" srcId="{4D7620CE-9FA5-456E-A8A1-995A996F2A5E}" destId="{0AB93559-6FEE-47C5-A2E8-04B405AAD561}" srcOrd="2" destOrd="0" parTransId="{4639BC48-B04F-48AD-812C-5266E7C24A83}" sibTransId="{033881D9-CF0D-420D-96B8-845B2FE9B9B1}"/>
    <dgm:cxn modelId="{5BD5537B-6A07-40FE-8109-D78D7EC7F24D}" srcId="{FE494E8E-0F8B-4B77-9C63-5D7A44D7E9F1}" destId="{D3ED4A61-8FD0-4C1B-AA3A-1C6D39800FC9}" srcOrd="0" destOrd="0" parTransId="{96124256-C094-430C-884F-F1AB9926DC4C}" sibTransId="{D3C3D1B3-458A-446D-A590-6AA3E6ACA282}"/>
    <dgm:cxn modelId="{729CA77C-5BDB-4881-9D13-03D6F2FB79C7}" srcId="{85343157-8BAE-4D80-B105-B8CFA47FC458}" destId="{5074DEEC-2FB9-4966-BE2C-1E3483121BEF}" srcOrd="4" destOrd="0" parTransId="{3CA6F09E-EFDD-4446-A28A-581665585089}" sibTransId="{4907204D-DF67-4AE2-9ADB-1AE9E5768208}"/>
    <dgm:cxn modelId="{3C0CC57F-D34C-48F0-8EFB-28DDE55C4C09}" srcId="{4D7620CE-9FA5-456E-A8A1-995A996F2A5E}" destId="{65C8DB75-D82A-4B1B-B4EB-982C913DD755}" srcOrd="0" destOrd="0" parTransId="{4C4FAFBA-464D-4430-A508-BC020EB6E451}" sibTransId="{860C935D-7C3D-4A95-839D-781EAB709765}"/>
    <dgm:cxn modelId="{111A5680-3A56-4DE2-BC01-36C2FFAE62D9}" srcId="{7FFB02E5-7293-41B5-9198-E09ADF04B7AC}" destId="{96564B1C-C2FA-4171-A319-8FC48BA5C1BA}" srcOrd="1" destOrd="0" parTransId="{44C7AB30-61C1-4A9E-9744-05784A7C888C}" sibTransId="{10FBACE5-ABD0-4FAD-806B-4ECFBE56C11D}"/>
    <dgm:cxn modelId="{F4896A82-9DED-45D4-9016-F19C2BC36EDA}" srcId="{C9C396C6-6170-4E8D-8FE6-ADDD382A8F14}" destId="{AC49D1CF-4B68-49F3-8015-DFA830E2E01D}" srcOrd="1" destOrd="0" parTransId="{CDC052EE-722D-4648-91CE-798D859EA1B4}" sibTransId="{712B0D9E-8643-421E-8B4D-365493DFCC06}"/>
    <dgm:cxn modelId="{1F3FC383-A929-49BE-A1D3-EF5C475E29E7}" type="presOf" srcId="{46D9E477-80B2-41AF-AB8D-605A14C8F362}" destId="{B6CF4DC0-9F3C-4DCB-9B50-270A3ECC5C96}" srcOrd="0" destOrd="0" presId="urn:microsoft.com/office/officeart/2005/8/layout/hList1"/>
    <dgm:cxn modelId="{9A786D88-7718-40D6-BE2A-587A8C70CAD0}" srcId="{7FFB02E5-7293-41B5-9198-E09ADF04B7AC}" destId="{FC29BBCA-BB15-4EFE-AEB8-0FEAD2768DE1}" srcOrd="3" destOrd="0" parTransId="{1909A705-4B37-4C3D-9213-1032DC003FF4}" sibTransId="{F2376660-582F-43E4-A177-E6500B5A49BF}"/>
    <dgm:cxn modelId="{DF1DCC88-531B-443C-B88D-E8BAE7223D3B}" type="presOf" srcId="{BBE4517C-671A-487D-A83A-16CC94FBD12C}" destId="{E3087A4C-E161-44EF-AB32-3387862D258A}" srcOrd="0" destOrd="3" presId="urn:microsoft.com/office/officeart/2005/8/layout/hList1"/>
    <dgm:cxn modelId="{7053298A-90BD-4B04-A9A0-079D9F2BA824}" srcId="{4D7620CE-9FA5-456E-A8A1-995A996F2A5E}" destId="{799C64D0-0822-4FDD-A8A2-13C0E9EF813F}" srcOrd="1" destOrd="0" parTransId="{7B6B673F-5A95-4969-9FA4-8E22C7CD9991}" sibTransId="{54C369CC-EE67-4640-81F8-0EF89FC4F5DC}"/>
    <dgm:cxn modelId="{E2476E8D-C39E-4094-868C-EBC93887A162}" srcId="{4D7620CE-9FA5-456E-A8A1-995A996F2A5E}" destId="{E9582BE3-7722-4C94-A1A8-9AB01B8ACE5E}" srcOrd="3" destOrd="0" parTransId="{1A865A09-FC51-4CCE-963F-5B87BA21B9E3}" sibTransId="{DE4459A7-9C3B-4951-A27C-94644383C801}"/>
    <dgm:cxn modelId="{1DD51593-D273-4CD0-8E10-B93CA4724F42}" srcId="{D4D0D801-4DB2-414D-96D9-924E02E38CE8}" destId="{7FFB02E5-7293-41B5-9198-E09ADF04B7AC}" srcOrd="1" destOrd="0" parTransId="{6E057E93-11C5-4BC9-B7E9-0EA31A1521AC}" sibTransId="{E19E8115-34F1-4AC6-90C1-AE6B9CEA6718}"/>
    <dgm:cxn modelId="{D76EAE9A-0C9E-4650-A284-F0474EE351AA}" type="presOf" srcId="{D2B32CAB-F3B5-4A6A-A06B-0C950A1C30D6}" destId="{3BDBF6AC-B0E5-46A1-B878-198EA1D93963}" srcOrd="0" destOrd="7" presId="urn:microsoft.com/office/officeart/2005/8/layout/hList1"/>
    <dgm:cxn modelId="{8090649F-E06C-4A16-BCCA-05B0BF19236F}" srcId="{46D9E477-80B2-41AF-AB8D-605A14C8F362}" destId="{C9C396C6-6170-4E8D-8FE6-ADDD382A8F14}" srcOrd="4" destOrd="0" parTransId="{743C3F29-1524-4AF0-9EF3-108CA16CDA22}" sibTransId="{47100FD2-BB13-428C-8F9A-760CD803A71E}"/>
    <dgm:cxn modelId="{C2F914A3-77F1-4E2F-9339-B4E7B1B6F041}" srcId="{C9C396C6-6170-4E8D-8FE6-ADDD382A8F14}" destId="{BBFB909D-926E-4C0E-84E9-0441B486DB45}" srcOrd="4" destOrd="0" parTransId="{ADFEAA81-136A-46C9-9E23-8070CAC2C421}" sibTransId="{43BF3CE6-98BE-4598-8B4E-12B92CE8ACB2}"/>
    <dgm:cxn modelId="{838F11A7-D7D3-4766-B3CC-C4C75F1D942A}" type="presOf" srcId="{D57E207F-9A16-4EEF-9287-91D53D2D6BE7}" destId="{3BDBF6AC-B0E5-46A1-B878-198EA1D93963}" srcOrd="0" destOrd="0" presId="urn:microsoft.com/office/officeart/2005/8/layout/hList1"/>
    <dgm:cxn modelId="{71B1F9AB-9F6B-4B3B-AA7E-352D83887E7F}" srcId="{4D7620CE-9FA5-456E-A8A1-995A996F2A5E}" destId="{FE494E8E-0F8B-4B77-9C63-5D7A44D7E9F1}" srcOrd="4" destOrd="0" parTransId="{54ED60D1-3B12-4EDA-85DE-E005BF555703}" sibTransId="{8F8D140D-1E1F-4C30-8DB7-2C035FFEA7F5}"/>
    <dgm:cxn modelId="{17052BB0-C144-4763-BBE7-C511F7E1A0E9}" type="presOf" srcId="{799C64D0-0822-4FDD-A8A2-13C0E9EF813F}" destId="{10306505-7440-488B-9E75-8939B6AD7AED}" srcOrd="0" destOrd="1" presId="urn:microsoft.com/office/officeart/2005/8/layout/hList1"/>
    <dgm:cxn modelId="{E4A8DDBA-9956-48E7-8DB5-35A0389A6558}" type="presOf" srcId="{1202B434-197A-48BB-AD57-BD473AA48833}" destId="{3BDBF6AC-B0E5-46A1-B878-198EA1D93963}" srcOrd="0" destOrd="5" presId="urn:microsoft.com/office/officeart/2005/8/layout/hList1"/>
    <dgm:cxn modelId="{DC32D7C7-E749-4A18-983E-A9B240479F58}" type="presOf" srcId="{8C3549E2-322C-4E4A-8B0B-5FC2389141F3}" destId="{3BDBF6AC-B0E5-46A1-B878-198EA1D93963}" srcOrd="0" destOrd="8" presId="urn:microsoft.com/office/officeart/2005/8/layout/hList1"/>
    <dgm:cxn modelId="{1BA6DDC7-0C3B-4396-9994-FDB7BDB6C131}" srcId="{9464A29B-BA1D-4998-A9DB-D1978F274FA8}" destId="{8028E004-72EE-45AD-8F77-115C01126037}" srcOrd="2" destOrd="0" parTransId="{F6821EB0-B3DC-4141-9E57-6298F7AFD3D4}" sibTransId="{A729BA47-A459-428E-8C54-9991D72CABD9}"/>
    <dgm:cxn modelId="{F2135AC8-A2E0-4E6A-83EA-EC2BF91207FF}" type="presOf" srcId="{5074DEEC-2FB9-4966-BE2C-1E3483121BEF}" destId="{3BDBF6AC-B0E5-46A1-B878-198EA1D93963}" srcOrd="0" destOrd="9" presId="urn:microsoft.com/office/officeart/2005/8/layout/hList1"/>
    <dgm:cxn modelId="{14A42ACC-FD4E-41E0-8D95-0F5896B745B7}" srcId="{C9C396C6-6170-4E8D-8FE6-ADDD382A8F14}" destId="{8BC7D728-4F89-4054-BD4C-D19F298A5ED8}" srcOrd="0" destOrd="0" parTransId="{7915F7BC-CB9F-47F8-94EF-7C5599ED1576}" sibTransId="{203CB17C-7A58-44B7-A3AE-7D127E96F5AB}"/>
    <dgm:cxn modelId="{2A2AC8CD-A1E8-4298-A732-B215CBA39E1C}" srcId="{85343157-8BAE-4D80-B105-B8CFA47FC458}" destId="{25D3BA8E-E021-4E7E-AE65-EB65FE9EE20C}" srcOrd="1" destOrd="0" parTransId="{7172BE54-D663-4049-9A3F-FCC345BBBE00}" sibTransId="{27ABA5FA-407D-44BB-8581-F21DC4BA1FF4}"/>
    <dgm:cxn modelId="{56959CD1-AD1A-45BF-847B-E8DE14540459}" type="presOf" srcId="{25D3BA8E-E021-4E7E-AE65-EB65FE9EE20C}" destId="{3BDBF6AC-B0E5-46A1-B878-198EA1D93963}" srcOrd="0" destOrd="6" presId="urn:microsoft.com/office/officeart/2005/8/layout/hList1"/>
    <dgm:cxn modelId="{7156BED1-64DA-4940-B4D0-C57AA04FEF42}" type="presOf" srcId="{4D7620CE-9FA5-456E-A8A1-995A996F2A5E}" destId="{EBCD4A97-CD73-48EA-960A-FA301B577624}" srcOrd="0" destOrd="0" presId="urn:microsoft.com/office/officeart/2005/8/layout/hList1"/>
    <dgm:cxn modelId="{473137D3-A5C9-4348-84C0-3FF276E41BA0}" type="presOf" srcId="{FC29BBCA-BB15-4EFE-AEB8-0FEAD2768DE1}" destId="{3BDBF6AC-B0E5-46A1-B878-198EA1D93963}" srcOrd="0" destOrd="3" presId="urn:microsoft.com/office/officeart/2005/8/layout/hList1"/>
    <dgm:cxn modelId="{6048E5D8-E7C2-432E-9B55-0D52ADF926F9}" type="presOf" srcId="{96564B1C-C2FA-4171-A319-8FC48BA5C1BA}" destId="{3BDBF6AC-B0E5-46A1-B878-198EA1D93963}" srcOrd="0" destOrd="1" presId="urn:microsoft.com/office/officeart/2005/8/layout/hList1"/>
    <dgm:cxn modelId="{975DC8D9-C115-4993-83EB-0825133626B1}" type="presOf" srcId="{6B73B26A-C0F0-4045-A52E-60C7B54FF883}" destId="{10306505-7440-488B-9E75-8939B6AD7AED}" srcOrd="0" destOrd="10" presId="urn:microsoft.com/office/officeart/2005/8/layout/hList1"/>
    <dgm:cxn modelId="{6DCBFFD9-E1D1-4516-9E06-53E3B43DE592}" srcId="{9464A29B-BA1D-4998-A9DB-D1978F274FA8}" destId="{418566A0-1385-4DBD-B8A0-F9884EBF35A5}" srcOrd="0" destOrd="0" parTransId="{120EF354-FE56-46CE-91E9-1250B145960F}" sibTransId="{5EDFB792-2B52-4795-A3A6-C3A76DE4DB0D}"/>
    <dgm:cxn modelId="{EB3869DE-CB9B-4C72-A30F-AE8B9EB1F550}" type="presOf" srcId="{27D9AF21-51F6-42AC-A226-ED9D4BED58EE}" destId="{3BDBF6AC-B0E5-46A1-B878-198EA1D93963}" srcOrd="0" destOrd="2" presId="urn:microsoft.com/office/officeart/2005/8/layout/hList1"/>
    <dgm:cxn modelId="{6F422BE6-399B-4AEC-943A-0CA242F9C66F}" type="presOf" srcId="{E9582BE3-7722-4C94-A1A8-9AB01B8ACE5E}" destId="{10306505-7440-488B-9E75-8939B6AD7AED}" srcOrd="0" destOrd="3" presId="urn:microsoft.com/office/officeart/2005/8/layout/hList1"/>
    <dgm:cxn modelId="{65B392E7-8B86-4C1F-BC18-1F00422AAE67}" type="presOf" srcId="{D4D0D801-4DB2-414D-96D9-924E02E38CE8}" destId="{715BE04B-1E4B-4EF2-8068-3B5965F45110}" srcOrd="0" destOrd="0" presId="urn:microsoft.com/office/officeart/2005/8/layout/hList1"/>
    <dgm:cxn modelId="{70299EE7-0D4F-4ADF-B1FD-F8374C759281}" type="presOf" srcId="{94FA8220-C6D4-47A6-BD96-20F86B90D45D}" destId="{E3087A4C-E161-44EF-AB32-3387862D258A}" srcOrd="0" destOrd="2" presId="urn:microsoft.com/office/officeart/2005/8/layout/hList1"/>
    <dgm:cxn modelId="{47BDF7E8-A595-48B6-A24E-BEB06DB97FDF}" srcId="{C9C396C6-6170-4E8D-8FE6-ADDD382A8F14}" destId="{64153260-7A06-40A8-8AA3-F3C0C2F29613}" srcOrd="3" destOrd="0" parTransId="{0F935090-9912-4948-ACF1-E2FD334A556A}" sibTransId="{9B0E7B68-040F-4345-8FEB-8C3C7C5360D0}"/>
    <dgm:cxn modelId="{7E0953EA-2B94-4AD0-AFFE-997FD924B490}" srcId="{85343157-8BAE-4D80-B105-B8CFA47FC458}" destId="{8C3549E2-322C-4E4A-8B0B-5FC2389141F3}" srcOrd="3" destOrd="0" parTransId="{6F9661AB-2AC6-494B-991D-1786F82EE005}" sibTransId="{03CF09C0-3033-4D12-BE2B-21DF70182716}"/>
    <dgm:cxn modelId="{C997C3ED-E9A8-4074-B22C-55F4CFCF4C9D}" type="presOf" srcId="{65C8DB75-D82A-4B1B-B4EB-982C913DD755}" destId="{10306505-7440-488B-9E75-8939B6AD7AED}" srcOrd="0" destOrd="0" presId="urn:microsoft.com/office/officeart/2005/8/layout/hList1"/>
    <dgm:cxn modelId="{F6614DEE-3B14-4C3A-A748-0956F22E0ACF}" srcId="{D4D0D801-4DB2-414D-96D9-924E02E38CE8}" destId="{46D9E477-80B2-41AF-AB8D-605A14C8F362}" srcOrd="0" destOrd="0" parTransId="{D21EFDF7-EE87-455F-816D-88FB991788F5}" sibTransId="{C11F84A8-5B6B-46FF-A1AA-D9C9B641F220}"/>
    <dgm:cxn modelId="{B744B7EE-A1FD-4F10-B8D8-CD36B831619E}" srcId="{85343157-8BAE-4D80-B105-B8CFA47FC458}" destId="{D2B32CAB-F3B5-4A6A-A06B-0C950A1C30D6}" srcOrd="2" destOrd="0" parTransId="{4E82E4D5-1F16-4E97-BC1C-D8D4F83D3DF1}" sibTransId="{1455001A-F7FF-4415-A769-63A11A3BAE71}"/>
    <dgm:cxn modelId="{DEE546F0-70A1-4BDB-96E9-B1146A19AEC6}" type="presOf" srcId="{7FFB02E5-7293-41B5-9198-E09ADF04B7AC}" destId="{67A4F179-E459-44B6-83A2-F58BCCA63DEF}" srcOrd="0" destOrd="0" presId="urn:microsoft.com/office/officeart/2005/8/layout/hList1"/>
    <dgm:cxn modelId="{20A96DF1-09F1-45FF-BA0C-302DA373F860}" type="presOf" srcId="{C9C396C6-6170-4E8D-8FE6-ADDD382A8F14}" destId="{E3087A4C-E161-44EF-AB32-3387862D258A}" srcOrd="0" destOrd="4" presId="urn:microsoft.com/office/officeart/2005/8/layout/hList1"/>
    <dgm:cxn modelId="{81241EF4-D52A-40C7-81AF-B6CB2E7A4D98}" srcId="{9464A29B-BA1D-4998-A9DB-D1978F274FA8}" destId="{D7F657BC-5F46-4A4F-A98D-750696352262}" srcOrd="4" destOrd="0" parTransId="{1BE94103-F44E-432C-8911-067C1928A852}" sibTransId="{A64FC5C0-17C0-4502-8E7B-A13CB90A4B39}"/>
    <dgm:cxn modelId="{6E3C87F8-D45C-4200-A204-D6F684C1720E}" srcId="{7FFB02E5-7293-41B5-9198-E09ADF04B7AC}" destId="{D57E207F-9A16-4EEF-9287-91D53D2D6BE7}" srcOrd="0" destOrd="0" parTransId="{6991CB6E-BF7A-4A53-A26D-31A174E0A40D}" sibTransId="{804189A9-2E11-4132-BA73-3CA82743B8F7}"/>
    <dgm:cxn modelId="{5B0AE2F9-D634-44CF-AC5F-97EA26FFB285}" type="presOf" srcId="{BF590DA8-1192-41EC-AB7C-0CD9485D3360}" destId="{E3087A4C-E161-44EF-AB32-3387862D258A}" srcOrd="0" destOrd="1" presId="urn:microsoft.com/office/officeart/2005/8/layout/hList1"/>
    <dgm:cxn modelId="{8B9FA2FB-46A0-492F-B743-742D2F01B5A1}" type="presOf" srcId="{6F920151-F738-4F3F-B9D3-DE3A3E5BC7EC}" destId="{E3087A4C-E161-44EF-AB32-3387862D258A}" srcOrd="0" destOrd="7" presId="urn:microsoft.com/office/officeart/2005/8/layout/hList1"/>
    <dgm:cxn modelId="{664812FE-713A-4CC8-9042-8C7477523F0A}" srcId="{46D9E477-80B2-41AF-AB8D-605A14C8F362}" destId="{76695FB0-D087-4948-B96D-48CD971AE22E}" srcOrd="0" destOrd="0" parTransId="{CE100022-6FEF-4725-8F0B-1346CCC340CB}" sibTransId="{BC4CFAA7-C7ED-4D1D-A7D1-B0A3ACEE2480}"/>
    <dgm:cxn modelId="{0EA56B16-A4D2-4337-A0A5-8BF55AE38559}" type="presParOf" srcId="{715BE04B-1E4B-4EF2-8068-3B5965F45110}" destId="{50EEEBE6-4813-4C93-9277-6C607B83D2B6}" srcOrd="0" destOrd="0" presId="urn:microsoft.com/office/officeart/2005/8/layout/hList1"/>
    <dgm:cxn modelId="{84E69661-1CDE-4235-A32E-C61D2C3EDE47}" type="presParOf" srcId="{50EEEBE6-4813-4C93-9277-6C607B83D2B6}" destId="{B6CF4DC0-9F3C-4DCB-9B50-270A3ECC5C96}" srcOrd="0" destOrd="0" presId="urn:microsoft.com/office/officeart/2005/8/layout/hList1"/>
    <dgm:cxn modelId="{A2590782-9FC9-47D5-8504-5E95CCB2EA69}" type="presParOf" srcId="{50EEEBE6-4813-4C93-9277-6C607B83D2B6}" destId="{E3087A4C-E161-44EF-AB32-3387862D258A}" srcOrd="1" destOrd="0" presId="urn:microsoft.com/office/officeart/2005/8/layout/hList1"/>
    <dgm:cxn modelId="{44DD3BCF-86F3-456D-B1D6-579C473D4717}" type="presParOf" srcId="{715BE04B-1E4B-4EF2-8068-3B5965F45110}" destId="{1EA5CDA9-98BA-41F9-A3BA-6BF0272BD597}" srcOrd="1" destOrd="0" presId="urn:microsoft.com/office/officeart/2005/8/layout/hList1"/>
    <dgm:cxn modelId="{3FCDEF17-C42B-4247-998A-78005D6D5016}" type="presParOf" srcId="{715BE04B-1E4B-4EF2-8068-3B5965F45110}" destId="{A9CAABA6-F5B6-4A6C-9AD7-A892D58466BF}" srcOrd="2" destOrd="0" presId="urn:microsoft.com/office/officeart/2005/8/layout/hList1"/>
    <dgm:cxn modelId="{5356787D-DF9A-429A-95F7-B261A5F3BC80}" type="presParOf" srcId="{A9CAABA6-F5B6-4A6C-9AD7-A892D58466BF}" destId="{67A4F179-E459-44B6-83A2-F58BCCA63DEF}" srcOrd="0" destOrd="0" presId="urn:microsoft.com/office/officeart/2005/8/layout/hList1"/>
    <dgm:cxn modelId="{BFD10848-02F8-4B9C-B311-F929AF5487E1}" type="presParOf" srcId="{A9CAABA6-F5B6-4A6C-9AD7-A892D58466BF}" destId="{3BDBF6AC-B0E5-46A1-B878-198EA1D93963}" srcOrd="1" destOrd="0" presId="urn:microsoft.com/office/officeart/2005/8/layout/hList1"/>
    <dgm:cxn modelId="{925EF1DB-9267-4549-B713-E31F7A7C6710}" type="presParOf" srcId="{715BE04B-1E4B-4EF2-8068-3B5965F45110}" destId="{CACAA09D-788E-47D0-B3BA-BF69172299ED}" srcOrd="3" destOrd="0" presId="urn:microsoft.com/office/officeart/2005/8/layout/hList1"/>
    <dgm:cxn modelId="{5D5EC0F9-6541-4AD5-AD00-40902AD2A98C}" type="presParOf" srcId="{715BE04B-1E4B-4EF2-8068-3B5965F45110}" destId="{DEC1F50F-2958-4CC6-AAB0-4A858C7916CF}" srcOrd="4" destOrd="0" presId="urn:microsoft.com/office/officeart/2005/8/layout/hList1"/>
    <dgm:cxn modelId="{2B140D9B-C241-4C40-A957-25A3695508B6}" type="presParOf" srcId="{DEC1F50F-2958-4CC6-AAB0-4A858C7916CF}" destId="{EBCD4A97-CD73-48EA-960A-FA301B577624}" srcOrd="0" destOrd="0" presId="urn:microsoft.com/office/officeart/2005/8/layout/hList1"/>
    <dgm:cxn modelId="{0DB041C0-B777-4F0E-9841-9FF7DDF6D392}" type="presParOf" srcId="{DEC1F50F-2958-4CC6-AAB0-4A858C7916CF}" destId="{10306505-7440-488B-9E75-8939B6AD7AED}"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3B22119-66FC-4423-A54E-6D98E5EAF783}">
      <dsp:nvSpPr>
        <dsp:cNvPr id="0" name=""/>
        <dsp:cNvSpPr/>
      </dsp:nvSpPr>
      <dsp:spPr>
        <a:xfrm>
          <a:off x="0" y="398648"/>
          <a:ext cx="4876800" cy="4299045"/>
        </a:xfrm>
        <a:prstGeom prst="pie">
          <a:avLst>
            <a:gd name="adj1" fmla="val 5400000"/>
            <a:gd name="adj2" fmla="val 1620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380A579-1911-40DD-B77E-8D8B12E7BA1A}">
      <dsp:nvSpPr>
        <dsp:cNvPr id="0" name=""/>
        <dsp:cNvSpPr/>
      </dsp:nvSpPr>
      <dsp:spPr>
        <a:xfrm>
          <a:off x="2438400" y="359049"/>
          <a:ext cx="5689599" cy="4378244"/>
        </a:xfrm>
        <a:prstGeom prst="rect">
          <a:avLst/>
        </a:prstGeom>
        <a:solidFill>
          <a:schemeClr val="lt1">
            <a:alpha val="90000"/>
            <a:hueOff val="0"/>
            <a:satOff val="0"/>
            <a:lumOff val="0"/>
            <a:alphaOff val="0"/>
          </a:schemeClr>
        </a:solidFill>
        <a:ln w="19050" cap="flat" cmpd="sng" algn="ctr">
          <a:solidFill>
            <a:schemeClr val="accent1"/>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ClrTx/>
            <a:buSzTx/>
            <a:buFontTx/>
            <a:buNone/>
          </a:pPr>
          <a:r>
            <a:rPr kumimoji="0" lang="en-US" sz="1400" i="1" u="none" strike="noStrike" kern="1200" normalizeH="0" baseline="0" noProof="0">
              <a:ln w="0"/>
              <a:solidFill>
                <a:schemeClr val="tx1"/>
              </a:solidFill>
              <a:effectLst>
                <a:outerShdw blurRad="38100" dist="19050" dir="2700000" algn="tl" rotWithShape="0">
                  <a:schemeClr val="dk1">
                    <a:alpha val="40000"/>
                  </a:schemeClr>
                </a:outerShdw>
              </a:effectLst>
              <a:uLnTx/>
              <a:uFillTx/>
              <a:latin typeface="Segoe UI Light" panose="020B0502040204020203" pitchFamily="34" charset="0"/>
              <a:cs typeface="Segoe UI Light" panose="020B0502040204020203" pitchFamily="34" charset="0"/>
            </a:rPr>
            <a:t>“I quite like your AutoML function. It gives me good results compared to other libraries I tested before (</a:t>
          </a:r>
          <a:r>
            <a:rPr kumimoji="0" lang="en-US" sz="1400" i="1" u="none" strike="noStrike" kern="1200" normalizeH="0" baseline="0" noProof="0" err="1">
              <a:ln w="0"/>
              <a:solidFill>
                <a:schemeClr val="tx1"/>
              </a:solidFill>
              <a:effectLst>
                <a:outerShdw blurRad="38100" dist="19050" dir="2700000" algn="tl" rotWithShape="0">
                  <a:schemeClr val="dk1">
                    <a:alpha val="40000"/>
                  </a:schemeClr>
                </a:outerShdw>
              </a:effectLst>
              <a:uLnTx/>
              <a:uFillTx/>
              <a:latin typeface="Segoe UI Light" panose="020B0502040204020203" pitchFamily="34" charset="0"/>
              <a:cs typeface="Segoe UI Light" panose="020B0502040204020203" pitchFamily="34" charset="0"/>
            </a:rPr>
            <a:t>tpot</a:t>
          </a:r>
          <a:r>
            <a:rPr kumimoji="0" lang="en-US" sz="1400" i="1" u="none" strike="noStrike" kern="1200" normalizeH="0" baseline="0" noProof="0">
              <a:ln w="0"/>
              <a:solidFill>
                <a:schemeClr val="tx1"/>
              </a:solidFill>
              <a:effectLst>
                <a:outerShdw blurRad="38100" dist="19050" dir="2700000" algn="tl" rotWithShape="0">
                  <a:schemeClr val="dk1">
                    <a:alpha val="40000"/>
                  </a:schemeClr>
                </a:outerShdw>
              </a:effectLst>
              <a:uLnTx/>
              <a:uFillTx/>
              <a:latin typeface="Segoe UI Light" panose="020B0502040204020203" pitchFamily="34" charset="0"/>
              <a:cs typeface="Segoe UI Light" panose="020B0502040204020203" pitchFamily="34" charset="0"/>
            </a:rPr>
            <a:t> and auto-sklearn) that I believe was only looking at scores and often gave me models that over-trained my data. And of course the model from your suggested code is better.”</a:t>
          </a:r>
        </a:p>
        <a:p>
          <a:pPr marL="0" lvl="0" indent="0" algn="ctr" defTabSz="622300">
            <a:lnSpc>
              <a:spcPct val="90000"/>
            </a:lnSpc>
            <a:spcBef>
              <a:spcPct val="0"/>
            </a:spcBef>
            <a:spcAft>
              <a:spcPct val="35000"/>
            </a:spcAft>
            <a:buClrTx/>
            <a:buSzTx/>
            <a:buFontTx/>
            <a:buNone/>
          </a:pPr>
          <a:r>
            <a:rPr kumimoji="0" lang="en-US" sz="1400" b="0" i="1" u="none" strike="noStrike" kern="1200" cap="none" spc="0" normalizeH="0" baseline="0" noProof="0">
              <a:ln>
                <a:noFill/>
              </a:ln>
              <a:solidFill>
                <a:prstClr val="black"/>
              </a:solidFill>
              <a:effectLst/>
              <a:uLnTx/>
              <a:uFillTx/>
              <a:latin typeface="Segoe UI Light" panose="020B0502040204020203" pitchFamily="34" charset="0"/>
              <a:cs typeface="Segoe UI Light" panose="020B0502040204020203" pitchFamily="34" charset="0"/>
            </a:rPr>
            <a:t>- Big oil company</a:t>
          </a:r>
          <a:endParaRPr lang="en-US" sz="1400" kern="1200"/>
        </a:p>
      </dsp:txBody>
      <dsp:txXfrm>
        <a:off x="2438400" y="359049"/>
        <a:ext cx="5689599" cy="1313476"/>
      </dsp:txXfrm>
    </dsp:sp>
    <dsp:sp modelId="{B264E61A-EB53-4011-85CC-9C5A8C24BB4C}">
      <dsp:nvSpPr>
        <dsp:cNvPr id="0" name=""/>
        <dsp:cNvSpPr/>
      </dsp:nvSpPr>
      <dsp:spPr>
        <a:xfrm>
          <a:off x="821552" y="1603562"/>
          <a:ext cx="3169916" cy="2860089"/>
        </a:xfrm>
        <a:prstGeom prst="pie">
          <a:avLst>
            <a:gd name="adj1" fmla="val 5400000"/>
            <a:gd name="adj2" fmla="val 16200000"/>
          </a:avLst>
        </a:prstGeom>
        <a:solidFill>
          <a:schemeClr val="bg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C58C236-5B21-401E-902A-699372508955}">
      <dsp:nvSpPr>
        <dsp:cNvPr id="0" name=""/>
        <dsp:cNvSpPr/>
      </dsp:nvSpPr>
      <dsp:spPr>
        <a:xfrm>
          <a:off x="2438400" y="1724304"/>
          <a:ext cx="5689599" cy="2866936"/>
        </a:xfrm>
        <a:prstGeom prst="rect">
          <a:avLst/>
        </a:prstGeom>
        <a:solidFill>
          <a:schemeClr val="lt1">
            <a:alpha val="90000"/>
            <a:hueOff val="0"/>
            <a:satOff val="0"/>
            <a:lumOff val="0"/>
            <a:alphaOff val="0"/>
          </a:schemeClr>
        </a:solidFill>
        <a:ln w="19050" cap="flat" cmpd="sng" algn="ctr">
          <a:solidFill>
            <a:schemeClr val="accent1"/>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ClrTx/>
            <a:buSzTx/>
            <a:buFontTx/>
            <a:buNone/>
          </a:pPr>
          <a:r>
            <a:rPr kumimoji="0" lang="en-US" sz="1400" i="1" u="none" strike="noStrike" kern="1200" normalizeH="0" baseline="0" noProof="0">
              <a:ln w="0"/>
              <a:solidFill>
                <a:schemeClr val="tx1"/>
              </a:solidFill>
              <a:effectLst>
                <a:outerShdw blurRad="38100" dist="19050" dir="2700000" algn="tl" rotWithShape="0">
                  <a:schemeClr val="dk1">
                    <a:alpha val="40000"/>
                  </a:schemeClr>
                </a:outerShdw>
              </a:effectLst>
              <a:uLnTx/>
              <a:uFillTx/>
              <a:latin typeface="Segoe UI Light" panose="020B0502040204020203" pitchFamily="34" charset="0"/>
              <a:cs typeface="Segoe UI Light" panose="020B0502040204020203" pitchFamily="34" charset="0"/>
            </a:rPr>
            <a:t>“I will start with AutoML and use the algorithm that AutoML recommends to further tune the model”</a:t>
          </a:r>
        </a:p>
        <a:p>
          <a:pPr marL="0" lvl="0" indent="0" algn="ctr" defTabSz="622300">
            <a:lnSpc>
              <a:spcPct val="90000"/>
            </a:lnSpc>
            <a:spcBef>
              <a:spcPct val="0"/>
            </a:spcBef>
            <a:spcAft>
              <a:spcPct val="35000"/>
            </a:spcAft>
            <a:buClrTx/>
            <a:buSzTx/>
            <a:buFontTx/>
            <a:buNone/>
          </a:pPr>
          <a:r>
            <a:rPr kumimoji="0" lang="en-US" sz="1400" b="0" i="1" u="none" strike="noStrike" kern="1200" cap="none" spc="0" normalizeH="0" baseline="0" noProof="0">
              <a:ln>
                <a:noFill/>
              </a:ln>
              <a:solidFill>
                <a:prstClr val="black"/>
              </a:solidFill>
              <a:effectLst/>
              <a:uLnTx/>
              <a:uFillTx/>
              <a:latin typeface="Segoe UI Light" panose="020B0502040204020203" pitchFamily="34" charset="0"/>
              <a:cs typeface="Segoe UI Light" panose="020B0502040204020203" pitchFamily="34" charset="0"/>
            </a:rPr>
            <a:t>- Data Scientist</a:t>
          </a:r>
          <a:endParaRPr lang="en-US" sz="1400" kern="1200"/>
        </a:p>
      </dsp:txBody>
      <dsp:txXfrm>
        <a:off x="2438400" y="1724304"/>
        <a:ext cx="5689599" cy="1323201"/>
      </dsp:txXfrm>
    </dsp:sp>
    <dsp:sp modelId="{5985AE9A-79C5-45F0-89F7-6EA7A34A0A64}">
      <dsp:nvSpPr>
        <dsp:cNvPr id="0" name=""/>
        <dsp:cNvSpPr/>
      </dsp:nvSpPr>
      <dsp:spPr>
        <a:xfrm>
          <a:off x="1674986" y="3003958"/>
          <a:ext cx="1463038" cy="1463038"/>
        </a:xfrm>
        <a:prstGeom prst="pie">
          <a:avLst>
            <a:gd name="adj1" fmla="val 5400000"/>
            <a:gd name="adj2" fmla="val 1620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8629DF3-D668-4B64-A5A2-ED1991B29900}">
      <dsp:nvSpPr>
        <dsp:cNvPr id="0" name=""/>
        <dsp:cNvSpPr/>
      </dsp:nvSpPr>
      <dsp:spPr>
        <a:xfrm>
          <a:off x="2438400" y="3035852"/>
          <a:ext cx="5689599" cy="1463038"/>
        </a:xfrm>
        <a:prstGeom prst="rect">
          <a:avLst/>
        </a:prstGeom>
        <a:solidFill>
          <a:schemeClr val="lt1">
            <a:alpha val="90000"/>
            <a:hueOff val="0"/>
            <a:satOff val="0"/>
            <a:lumOff val="0"/>
            <a:alphaOff val="0"/>
          </a:schemeClr>
        </a:solidFill>
        <a:ln w="19050" cap="flat" cmpd="sng" algn="ctr">
          <a:solidFill>
            <a:schemeClr val="accent1"/>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ClrTx/>
            <a:buSzTx/>
            <a:buFontTx/>
            <a:buNone/>
          </a:pPr>
          <a:r>
            <a:rPr kumimoji="0" lang="en-US" sz="1400" b="0" i="1" u="none" strike="noStrike" kern="1200" cap="none" spc="0" normalizeH="0" baseline="0" noProof="0">
              <a:ln>
                <a:noFill/>
              </a:ln>
              <a:solidFill>
                <a:prstClr val="black"/>
              </a:solidFill>
              <a:effectLst/>
              <a:uLnTx/>
              <a:uFillTx/>
              <a:latin typeface="Segoe UI Light" panose="020B0502040204020203" pitchFamily="34" charset="0"/>
              <a:cs typeface="Segoe UI Light" panose="020B0502040204020203" pitchFamily="34" charset="0"/>
            </a:rPr>
            <a:t>“</a:t>
          </a:r>
          <a:r>
            <a:rPr kumimoji="0" lang="en-US" sz="1400" i="1" u="none" strike="noStrike" kern="1200" normalizeH="0" baseline="0" noProof="0">
              <a:ln w="0"/>
              <a:solidFill>
                <a:schemeClr val="tx1"/>
              </a:solidFill>
              <a:effectLst>
                <a:outerShdw blurRad="38100" dist="19050" dir="2700000" algn="tl" rotWithShape="0">
                  <a:schemeClr val="dk1">
                    <a:alpha val="40000"/>
                  </a:schemeClr>
                </a:outerShdw>
              </a:effectLst>
              <a:uLnTx/>
              <a:uFillTx/>
              <a:latin typeface="Segoe UI Light" panose="020B0502040204020203" pitchFamily="34" charset="0"/>
              <a:cs typeface="Segoe UI Light" panose="020B0502040204020203" pitchFamily="34" charset="0"/>
            </a:rPr>
            <a:t>I actually enjoy being able to use AutoML in a Jupyter notebook. The DataRobot interface was nice for non-experts, but for someone like me, it felt a bit basic.”</a:t>
          </a:r>
        </a:p>
        <a:p>
          <a:pPr marL="0" lvl="0" indent="0" algn="ctr" defTabSz="622300">
            <a:lnSpc>
              <a:spcPct val="90000"/>
            </a:lnSpc>
            <a:spcBef>
              <a:spcPct val="0"/>
            </a:spcBef>
            <a:spcAft>
              <a:spcPct val="35000"/>
            </a:spcAft>
            <a:buClrTx/>
            <a:buSzTx/>
            <a:buFontTx/>
            <a:buNone/>
          </a:pPr>
          <a:r>
            <a:rPr kumimoji="0" lang="en-US" sz="1400" b="0" i="1" u="none" strike="noStrike" kern="1200" cap="none" spc="0" normalizeH="0" baseline="0" noProof="0">
              <a:ln>
                <a:noFill/>
              </a:ln>
              <a:solidFill>
                <a:prstClr val="black"/>
              </a:solidFill>
              <a:effectLst/>
              <a:uLnTx/>
              <a:uFillTx/>
              <a:latin typeface="Segoe UI Light" panose="020B0502040204020203" pitchFamily="34" charset="0"/>
              <a:cs typeface="Segoe UI Light" panose="020B0502040204020203" pitchFamily="34" charset="0"/>
            </a:rPr>
            <a:t>- Data Scientist</a:t>
          </a:r>
          <a:endParaRPr lang="en-US" sz="1400" kern="1200"/>
        </a:p>
      </dsp:txBody>
      <dsp:txXfrm>
        <a:off x="2438400" y="3035852"/>
        <a:ext cx="5689599" cy="146303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6CF4DC0-9F3C-4DCB-9B50-270A3ECC5C96}">
      <dsp:nvSpPr>
        <dsp:cNvPr id="0" name=""/>
        <dsp:cNvSpPr/>
      </dsp:nvSpPr>
      <dsp:spPr>
        <a:xfrm>
          <a:off x="3654" y="49619"/>
          <a:ext cx="3563218" cy="4896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69088" rIns="120904" bIns="69088" numCol="1" spcCol="1270" anchor="ctr" anchorCtr="0">
          <a:noAutofit/>
        </a:bodyPr>
        <a:lstStyle/>
        <a:p>
          <a:pPr marL="0" lvl="0" indent="0" algn="ctr" defTabSz="755650">
            <a:lnSpc>
              <a:spcPct val="90000"/>
            </a:lnSpc>
            <a:spcBef>
              <a:spcPct val="0"/>
            </a:spcBef>
            <a:spcAft>
              <a:spcPct val="35000"/>
            </a:spcAft>
            <a:buNone/>
          </a:pPr>
          <a:r>
            <a:rPr lang="en-US" sz="1700" kern="1200" dirty="0"/>
            <a:t>Model Explain-ability </a:t>
          </a:r>
        </a:p>
      </dsp:txBody>
      <dsp:txXfrm>
        <a:off x="3654" y="49619"/>
        <a:ext cx="3563218" cy="489600"/>
      </dsp:txXfrm>
    </dsp:sp>
    <dsp:sp modelId="{E3087A4C-E161-44EF-AB32-3387862D258A}">
      <dsp:nvSpPr>
        <dsp:cNvPr id="0" name=""/>
        <dsp:cNvSpPr/>
      </dsp:nvSpPr>
      <dsp:spPr>
        <a:xfrm>
          <a:off x="3654" y="539219"/>
          <a:ext cx="3563218" cy="4829827"/>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0678" tIns="90678" rIns="120904" bIns="136017" numCol="1" spcCol="1270" anchor="t" anchorCtr="0">
          <a:noAutofit/>
        </a:bodyPr>
        <a:lstStyle/>
        <a:p>
          <a:pPr marL="171450" lvl="1" indent="-171450" algn="l" defTabSz="755650">
            <a:lnSpc>
              <a:spcPct val="90000"/>
            </a:lnSpc>
            <a:spcBef>
              <a:spcPct val="0"/>
            </a:spcBef>
            <a:spcAft>
              <a:spcPct val="15000"/>
            </a:spcAft>
            <a:buChar char="•"/>
          </a:pPr>
          <a:r>
            <a:rPr lang="en-US" sz="1700" kern="1200" dirty="0">
              <a:solidFill>
                <a:prstClr val="black">
                  <a:hueOff val="0"/>
                  <a:satOff val="0"/>
                  <a:lumOff val="0"/>
                  <a:alphaOff val="0"/>
                </a:prstClr>
              </a:solidFill>
              <a:latin typeface="Segoe UI Light" panose="020B0502040204020203" pitchFamily="34" charset="0"/>
              <a:ea typeface="+mn-ea"/>
              <a:cs typeface="Segoe UI Light" panose="020B0502040204020203" pitchFamily="34" charset="0"/>
            </a:rPr>
            <a:t>Feature importance as part of training</a:t>
          </a:r>
        </a:p>
        <a:p>
          <a:pPr marL="171450" lvl="1" indent="-171450" algn="l" defTabSz="755650">
            <a:lnSpc>
              <a:spcPct val="90000"/>
            </a:lnSpc>
            <a:spcBef>
              <a:spcPct val="0"/>
            </a:spcBef>
            <a:spcAft>
              <a:spcPct val="15000"/>
            </a:spcAft>
            <a:buChar char="•"/>
          </a:pPr>
          <a:r>
            <a:rPr lang="en-US" sz="1700" kern="1200" dirty="0">
              <a:solidFill>
                <a:prstClr val="black">
                  <a:hueOff val="0"/>
                  <a:satOff val="0"/>
                  <a:lumOff val="0"/>
                  <a:alphaOff val="0"/>
                </a:prstClr>
              </a:solidFill>
              <a:latin typeface="Segoe UI Light" panose="020B0502040204020203" pitchFamily="34" charset="0"/>
              <a:ea typeface="+mn-ea"/>
              <a:cs typeface="Segoe UI Light" panose="020B0502040204020203" pitchFamily="34" charset="0"/>
            </a:rPr>
            <a:t>Simple UX for feature importance for a selected iteration</a:t>
          </a:r>
        </a:p>
        <a:p>
          <a:pPr marL="171450" lvl="1" indent="-171450" algn="l" defTabSz="755650">
            <a:lnSpc>
              <a:spcPct val="90000"/>
            </a:lnSpc>
            <a:spcBef>
              <a:spcPct val="0"/>
            </a:spcBef>
            <a:spcAft>
              <a:spcPct val="15000"/>
            </a:spcAft>
            <a:buChar char="•"/>
          </a:pPr>
          <a:r>
            <a:rPr lang="en-US" sz="1700" kern="1200" dirty="0">
              <a:solidFill>
                <a:prstClr val="black">
                  <a:hueOff val="0"/>
                  <a:satOff val="0"/>
                  <a:lumOff val="0"/>
                  <a:alphaOff val="0"/>
                </a:prstClr>
              </a:solidFill>
              <a:latin typeface="Segoe UI Light" panose="020B0502040204020203" pitchFamily="34" charset="0"/>
              <a:ea typeface="+mn-ea"/>
              <a:cs typeface="Segoe UI Light" panose="020B0502040204020203" pitchFamily="34" charset="0"/>
            </a:rPr>
            <a:t>Local feature importance for a given sample</a:t>
          </a:r>
        </a:p>
        <a:p>
          <a:pPr marL="171450" lvl="1" indent="-171450" algn="l" defTabSz="755650">
            <a:lnSpc>
              <a:spcPct val="90000"/>
            </a:lnSpc>
            <a:spcBef>
              <a:spcPct val="0"/>
            </a:spcBef>
            <a:spcAft>
              <a:spcPct val="15000"/>
            </a:spcAft>
            <a:buChar char="•"/>
          </a:pPr>
          <a:endParaRPr lang="en-US" sz="1700" kern="1200" dirty="0">
            <a:solidFill>
              <a:prstClr val="black">
                <a:hueOff val="0"/>
                <a:satOff val="0"/>
                <a:lumOff val="0"/>
                <a:alphaOff val="0"/>
              </a:prstClr>
            </a:solidFill>
            <a:latin typeface="Segoe UI Light" panose="020B0502040204020203" pitchFamily="34" charset="0"/>
            <a:ea typeface="+mn-ea"/>
            <a:cs typeface="Segoe UI Light" panose="020B0502040204020203" pitchFamily="34" charset="0"/>
          </a:endParaRPr>
        </a:p>
        <a:p>
          <a:pPr marL="171450" lvl="1" indent="-171450" algn="l" defTabSz="755650">
            <a:lnSpc>
              <a:spcPct val="90000"/>
            </a:lnSpc>
            <a:spcBef>
              <a:spcPct val="0"/>
            </a:spcBef>
            <a:spcAft>
              <a:spcPct val="15000"/>
            </a:spcAft>
            <a:buChar char="•"/>
          </a:pPr>
          <a:r>
            <a:rPr lang="en-US" sz="1700" kern="1200" dirty="0">
              <a:solidFill>
                <a:prstClr val="black">
                  <a:hueOff val="0"/>
                  <a:satOff val="0"/>
                  <a:lumOff val="0"/>
                  <a:alphaOff val="0"/>
                </a:prstClr>
              </a:solidFill>
              <a:latin typeface="Segoe UI Light" panose="020B0502040204020203" pitchFamily="34" charset="0"/>
              <a:ea typeface="+mn-ea"/>
              <a:cs typeface="Segoe UI Light" panose="020B0502040204020203" pitchFamily="34" charset="0"/>
            </a:rPr>
            <a:t>Roadmap</a:t>
          </a:r>
        </a:p>
        <a:p>
          <a:pPr marL="342900" lvl="2" indent="-171450" algn="l" defTabSz="755650">
            <a:lnSpc>
              <a:spcPct val="90000"/>
            </a:lnSpc>
            <a:spcBef>
              <a:spcPct val="0"/>
            </a:spcBef>
            <a:spcAft>
              <a:spcPct val="15000"/>
            </a:spcAft>
            <a:buChar char="•"/>
          </a:pPr>
          <a:r>
            <a:rPr lang="en-US" sz="1700" kern="1200" dirty="0">
              <a:solidFill>
                <a:prstClr val="black">
                  <a:hueOff val="0"/>
                  <a:satOff val="0"/>
                  <a:lumOff val="0"/>
                  <a:alphaOff val="0"/>
                </a:prstClr>
              </a:solidFill>
              <a:latin typeface="Segoe UI Light" panose="020B0502040204020203" pitchFamily="34" charset="0"/>
              <a:ea typeface="+mn-ea"/>
              <a:cs typeface="Segoe UI Light" panose="020B0502040204020203" pitchFamily="34" charset="0"/>
            </a:rPr>
            <a:t>Azure Databricks integration</a:t>
          </a:r>
        </a:p>
        <a:p>
          <a:pPr marL="342900" lvl="2" indent="-171450" algn="l" defTabSz="755650">
            <a:lnSpc>
              <a:spcPct val="90000"/>
            </a:lnSpc>
            <a:spcBef>
              <a:spcPct val="0"/>
            </a:spcBef>
            <a:spcAft>
              <a:spcPct val="15000"/>
            </a:spcAft>
            <a:buChar char="•"/>
          </a:pPr>
          <a:r>
            <a:rPr lang="en-US" sz="1700" kern="1200" dirty="0">
              <a:solidFill>
                <a:prstClr val="black">
                  <a:hueOff val="0"/>
                  <a:satOff val="0"/>
                  <a:lumOff val="0"/>
                  <a:alphaOff val="0"/>
                </a:prstClr>
              </a:solidFill>
              <a:latin typeface="Segoe UI Light" panose="020B0502040204020203" pitchFamily="34" charset="0"/>
              <a:ea typeface="+mn-ea"/>
              <a:cs typeface="Segoe UI Light" panose="020B0502040204020203" pitchFamily="34" charset="0"/>
            </a:rPr>
            <a:t>Improved Performance</a:t>
          </a:r>
        </a:p>
        <a:p>
          <a:pPr marL="342900" lvl="2" indent="-171450" algn="l" defTabSz="755650">
            <a:lnSpc>
              <a:spcPct val="90000"/>
            </a:lnSpc>
            <a:spcBef>
              <a:spcPct val="0"/>
            </a:spcBef>
            <a:spcAft>
              <a:spcPct val="15000"/>
            </a:spcAft>
            <a:buChar char="•"/>
          </a:pPr>
          <a:r>
            <a:rPr lang="en-US" sz="1700" kern="1200" dirty="0">
              <a:solidFill>
                <a:prstClr val="black">
                  <a:hueOff val="0"/>
                  <a:satOff val="0"/>
                  <a:lumOff val="0"/>
                  <a:alphaOff val="0"/>
                </a:prstClr>
              </a:solidFill>
              <a:latin typeface="Segoe UI Light" panose="020B0502040204020203" pitchFamily="34" charset="0"/>
              <a:ea typeface="+mn-ea"/>
              <a:cs typeface="Segoe UI Light" panose="020B0502040204020203" pitchFamily="34" charset="0"/>
            </a:rPr>
            <a:t>Support Remote Compute</a:t>
          </a:r>
        </a:p>
        <a:p>
          <a:pPr marL="342900" lvl="2" indent="-171450" algn="l" defTabSz="755650">
            <a:lnSpc>
              <a:spcPct val="90000"/>
            </a:lnSpc>
            <a:spcBef>
              <a:spcPct val="0"/>
            </a:spcBef>
            <a:spcAft>
              <a:spcPct val="15000"/>
            </a:spcAft>
            <a:buChar char="•"/>
          </a:pPr>
          <a:r>
            <a:rPr lang="en-US" sz="1700" kern="1200" dirty="0">
              <a:solidFill>
                <a:prstClr val="black">
                  <a:hueOff val="0"/>
                  <a:satOff val="0"/>
                  <a:lumOff val="0"/>
                  <a:alphaOff val="0"/>
                </a:prstClr>
              </a:solidFill>
              <a:latin typeface="Segoe UI Light" panose="020B0502040204020203" pitchFamily="34" charset="0"/>
              <a:ea typeface="+mn-ea"/>
              <a:cs typeface="Segoe UI Light" panose="020B0502040204020203" pitchFamily="34" charset="0"/>
            </a:rPr>
            <a:t>Raw Feature importance</a:t>
          </a:r>
        </a:p>
        <a:p>
          <a:pPr marL="342900" lvl="2" indent="-171450" algn="l" defTabSz="755650">
            <a:lnSpc>
              <a:spcPct val="90000"/>
            </a:lnSpc>
            <a:spcBef>
              <a:spcPct val="0"/>
            </a:spcBef>
            <a:spcAft>
              <a:spcPct val="15000"/>
            </a:spcAft>
            <a:buChar char="•"/>
          </a:pPr>
          <a:r>
            <a:rPr lang="en-US" sz="1700" kern="1200" dirty="0">
              <a:solidFill>
                <a:prstClr val="black">
                  <a:hueOff val="0"/>
                  <a:satOff val="0"/>
                  <a:lumOff val="0"/>
                  <a:alphaOff val="0"/>
                </a:prstClr>
              </a:solidFill>
              <a:latin typeface="Segoe UI Light" panose="020B0502040204020203" pitchFamily="34" charset="0"/>
              <a:ea typeface="+mn-ea"/>
              <a:cs typeface="Segoe UI Light" panose="020B0502040204020203" pitchFamily="34" charset="0"/>
            </a:rPr>
            <a:t>Prediction time feature importance</a:t>
          </a:r>
        </a:p>
      </dsp:txBody>
      <dsp:txXfrm>
        <a:off x="3654" y="539219"/>
        <a:ext cx="3563218" cy="4829827"/>
      </dsp:txXfrm>
    </dsp:sp>
    <dsp:sp modelId="{67A4F179-E459-44B6-83A2-F58BCCA63DEF}">
      <dsp:nvSpPr>
        <dsp:cNvPr id="0" name=""/>
        <dsp:cNvSpPr/>
      </dsp:nvSpPr>
      <dsp:spPr>
        <a:xfrm>
          <a:off x="4065724" y="49619"/>
          <a:ext cx="3563218" cy="4896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69088" rIns="120904" bIns="69088" numCol="1" spcCol="1270" anchor="ctr" anchorCtr="0">
          <a:noAutofit/>
        </a:bodyPr>
        <a:lstStyle/>
        <a:p>
          <a:pPr marL="0" lvl="0" indent="0" algn="ctr" defTabSz="755650">
            <a:lnSpc>
              <a:spcPct val="90000"/>
            </a:lnSpc>
            <a:spcBef>
              <a:spcPct val="0"/>
            </a:spcBef>
            <a:spcAft>
              <a:spcPct val="35000"/>
            </a:spcAft>
            <a:buNone/>
          </a:pPr>
          <a:r>
            <a:rPr lang="en-US" sz="1700" kern="1200" dirty="0"/>
            <a:t>Azure Databricks</a:t>
          </a:r>
        </a:p>
      </dsp:txBody>
      <dsp:txXfrm>
        <a:off x="4065724" y="49619"/>
        <a:ext cx="3563218" cy="489600"/>
      </dsp:txXfrm>
    </dsp:sp>
    <dsp:sp modelId="{3BDBF6AC-B0E5-46A1-B878-198EA1D93963}">
      <dsp:nvSpPr>
        <dsp:cNvPr id="0" name=""/>
        <dsp:cNvSpPr/>
      </dsp:nvSpPr>
      <dsp:spPr>
        <a:xfrm>
          <a:off x="4065724" y="539219"/>
          <a:ext cx="3563218" cy="4829827"/>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0678" tIns="90678" rIns="120904" bIns="136017" numCol="1" spcCol="1270" anchor="t" anchorCtr="0">
          <a:noAutofit/>
        </a:bodyPr>
        <a:lstStyle/>
        <a:p>
          <a:pPr marL="171450" lvl="1" indent="-171450" algn="l" defTabSz="755650">
            <a:lnSpc>
              <a:spcPct val="90000"/>
            </a:lnSpc>
            <a:spcBef>
              <a:spcPct val="0"/>
            </a:spcBef>
            <a:spcAft>
              <a:spcPct val="15000"/>
            </a:spcAft>
            <a:buFont typeface="Arial" panose="020B0604020202020204" pitchFamily="34" charset="0"/>
            <a:buChar char="•"/>
          </a:pPr>
          <a:r>
            <a:rPr lang="en-US" sz="1700" kern="1200">
              <a:latin typeface="Segoe UI Light" panose="020B0502040204020203" pitchFamily="34" charset="0"/>
              <a:cs typeface="Segoe UI Light" panose="020B0502040204020203" pitchFamily="34" charset="0"/>
            </a:rPr>
            <a:t>Parallel run of iterations on Azure Databricks cluster</a:t>
          </a:r>
          <a:endParaRPr lang="en-US" sz="1700" kern="1200" dirty="0"/>
        </a:p>
        <a:p>
          <a:pPr marL="171450" lvl="1" indent="-171450" algn="l" defTabSz="755650">
            <a:lnSpc>
              <a:spcPct val="90000"/>
            </a:lnSpc>
            <a:spcBef>
              <a:spcPct val="0"/>
            </a:spcBef>
            <a:spcAft>
              <a:spcPct val="15000"/>
            </a:spcAft>
            <a:buChar char="•"/>
          </a:pPr>
          <a:r>
            <a:rPr lang="en-US" sz="1700" kern="1200" dirty="0">
              <a:latin typeface="Segoe UI Light" panose="020B0502040204020203" pitchFamily="34" charset="0"/>
              <a:cs typeface="Segoe UI Light" panose="020B0502040204020203" pitchFamily="34" charset="0"/>
            </a:rPr>
            <a:t>Support for latest Azure Databricks 4.x and 5.x non-ML runtimes</a:t>
          </a:r>
        </a:p>
        <a:p>
          <a:pPr marL="171450" lvl="1" indent="-171450" algn="l" defTabSz="755650">
            <a:lnSpc>
              <a:spcPct val="90000"/>
            </a:lnSpc>
            <a:spcBef>
              <a:spcPct val="0"/>
            </a:spcBef>
            <a:spcAft>
              <a:spcPct val="15000"/>
            </a:spcAft>
            <a:buChar char="•"/>
          </a:pPr>
          <a:r>
            <a:rPr lang="en-US" sz="1700" kern="1200" dirty="0">
              <a:latin typeface="Segoe UI Light" panose="020B0502040204020203" pitchFamily="34" charset="0"/>
              <a:cs typeface="Segoe UI Light" panose="020B0502040204020203" pitchFamily="34" charset="0"/>
            </a:rPr>
            <a:t>Easy install on Azure Databricks cluster with a single integrated automated ML &amp; AML SDK package</a:t>
          </a:r>
        </a:p>
        <a:p>
          <a:pPr marL="171450" lvl="1" indent="-171450" algn="l" defTabSz="755650">
            <a:lnSpc>
              <a:spcPct val="90000"/>
            </a:lnSpc>
            <a:spcBef>
              <a:spcPct val="0"/>
            </a:spcBef>
            <a:spcAft>
              <a:spcPct val="15000"/>
            </a:spcAft>
            <a:buChar char="•"/>
          </a:pPr>
          <a:endParaRPr lang="en-US" sz="1700" kern="1200" dirty="0">
            <a:latin typeface="Segoe UI Light" panose="020B0502040204020203" pitchFamily="34" charset="0"/>
            <a:cs typeface="Segoe UI Light" panose="020B0502040204020203" pitchFamily="34" charset="0"/>
          </a:endParaRPr>
        </a:p>
        <a:p>
          <a:pPr marL="171450" lvl="1" indent="-171450" algn="l" defTabSz="755650">
            <a:lnSpc>
              <a:spcPct val="90000"/>
            </a:lnSpc>
            <a:spcBef>
              <a:spcPct val="0"/>
            </a:spcBef>
            <a:spcAft>
              <a:spcPct val="15000"/>
            </a:spcAft>
            <a:buChar char="•"/>
          </a:pPr>
          <a:r>
            <a:rPr lang="en-US" sz="1700" kern="1200" dirty="0">
              <a:latin typeface="Segoe UI Light" panose="020B0502040204020203" pitchFamily="34" charset="0"/>
              <a:cs typeface="Segoe UI Light" panose="020B0502040204020203" pitchFamily="34" charset="0"/>
            </a:rPr>
            <a:t>Roadmap</a:t>
          </a:r>
        </a:p>
        <a:p>
          <a:pPr marL="342900" lvl="2" indent="-171450" algn="l" defTabSz="755650">
            <a:lnSpc>
              <a:spcPct val="90000"/>
            </a:lnSpc>
            <a:spcBef>
              <a:spcPct val="0"/>
            </a:spcBef>
            <a:spcAft>
              <a:spcPct val="15000"/>
            </a:spcAft>
            <a:buFont typeface="Arial" panose="020B0604020202020204" pitchFamily="34" charset="0"/>
            <a:buChar char="•"/>
          </a:pPr>
          <a:r>
            <a:rPr lang="en-US" sz="1700" kern="1200" dirty="0">
              <a:latin typeface="Segoe UI Light" panose="020B0502040204020203" pitchFamily="34" charset="0"/>
              <a:cs typeface="Segoe UI Light" panose="020B0502040204020203" pitchFamily="34" charset="0"/>
            </a:rPr>
            <a:t>Azure Databricks integration</a:t>
          </a:r>
        </a:p>
        <a:p>
          <a:pPr marL="342900" lvl="2" indent="-171450" algn="l" defTabSz="755650">
            <a:lnSpc>
              <a:spcPct val="90000"/>
            </a:lnSpc>
            <a:spcBef>
              <a:spcPct val="0"/>
            </a:spcBef>
            <a:spcAft>
              <a:spcPct val="15000"/>
            </a:spcAft>
            <a:buChar char="•"/>
          </a:pPr>
          <a:r>
            <a:rPr lang="en-US" sz="1700" kern="1200" dirty="0">
              <a:latin typeface="Segoe UI Light" panose="020B0502040204020203" pitchFamily="34" charset="0"/>
              <a:cs typeface="Segoe UI Light" panose="020B0502040204020203" pitchFamily="34" charset="0"/>
            </a:rPr>
            <a:t>Improved Performance</a:t>
          </a:r>
        </a:p>
        <a:p>
          <a:pPr marL="342900" lvl="2" indent="-171450" algn="l" defTabSz="755650">
            <a:lnSpc>
              <a:spcPct val="90000"/>
            </a:lnSpc>
            <a:spcBef>
              <a:spcPct val="0"/>
            </a:spcBef>
            <a:spcAft>
              <a:spcPct val="15000"/>
            </a:spcAft>
            <a:buChar char="•"/>
          </a:pPr>
          <a:r>
            <a:rPr lang="en-US" sz="1700" kern="1200">
              <a:latin typeface="Segoe UI Light" panose="020B0502040204020203" pitchFamily="34" charset="0"/>
              <a:cs typeface="Segoe UI Light" panose="020B0502040204020203" pitchFamily="34" charset="0"/>
            </a:rPr>
            <a:t>Support Remote Compute</a:t>
          </a:r>
          <a:endParaRPr lang="en-US" sz="1700" kern="1200" dirty="0">
            <a:latin typeface="Segoe UI Light" panose="020B0502040204020203" pitchFamily="34" charset="0"/>
            <a:cs typeface="Segoe UI Light" panose="020B0502040204020203" pitchFamily="34" charset="0"/>
          </a:endParaRPr>
        </a:p>
        <a:p>
          <a:pPr marL="342900" lvl="2" indent="-171450" algn="l" defTabSz="755650">
            <a:lnSpc>
              <a:spcPct val="90000"/>
            </a:lnSpc>
            <a:spcBef>
              <a:spcPct val="0"/>
            </a:spcBef>
            <a:spcAft>
              <a:spcPct val="15000"/>
            </a:spcAft>
            <a:buChar char="•"/>
          </a:pPr>
          <a:r>
            <a:rPr lang="en-US" sz="1700" kern="1200">
              <a:latin typeface="Segoe UI Light" panose="020B0502040204020203" pitchFamily="34" charset="0"/>
              <a:cs typeface="Segoe UI Light" panose="020B0502040204020203" pitchFamily="34" charset="0"/>
            </a:rPr>
            <a:t>Raw Feature importance</a:t>
          </a:r>
          <a:endParaRPr lang="en-US" sz="1700" kern="1200" dirty="0">
            <a:latin typeface="Segoe UI Light" panose="020B0502040204020203" pitchFamily="34" charset="0"/>
            <a:cs typeface="Segoe UI Light" panose="020B0502040204020203" pitchFamily="34" charset="0"/>
          </a:endParaRPr>
        </a:p>
        <a:p>
          <a:pPr marL="342900" lvl="2" indent="-171450" algn="l" defTabSz="755650">
            <a:lnSpc>
              <a:spcPct val="90000"/>
            </a:lnSpc>
            <a:spcBef>
              <a:spcPct val="0"/>
            </a:spcBef>
            <a:spcAft>
              <a:spcPct val="15000"/>
            </a:spcAft>
            <a:buChar char="•"/>
          </a:pPr>
          <a:r>
            <a:rPr lang="en-US" sz="1700" kern="1200" dirty="0">
              <a:latin typeface="Segoe UI Light" panose="020B0502040204020203" pitchFamily="34" charset="0"/>
              <a:cs typeface="Segoe UI Light" panose="020B0502040204020203" pitchFamily="34" charset="0"/>
            </a:rPr>
            <a:t>Prediction time feature importance</a:t>
          </a:r>
        </a:p>
      </dsp:txBody>
      <dsp:txXfrm>
        <a:off x="4065724" y="539219"/>
        <a:ext cx="3563218" cy="4829827"/>
      </dsp:txXfrm>
    </dsp:sp>
    <dsp:sp modelId="{EBCD4A97-CD73-48EA-960A-FA301B577624}">
      <dsp:nvSpPr>
        <dsp:cNvPr id="0" name=""/>
        <dsp:cNvSpPr/>
      </dsp:nvSpPr>
      <dsp:spPr>
        <a:xfrm>
          <a:off x="8127793" y="49619"/>
          <a:ext cx="3563218" cy="4896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69088" rIns="120904" bIns="69088" numCol="1" spcCol="1270" anchor="ctr" anchorCtr="0">
          <a:noAutofit/>
        </a:bodyPr>
        <a:lstStyle/>
        <a:p>
          <a:pPr marL="0" lvl="0" indent="0" algn="ctr" defTabSz="755650">
            <a:lnSpc>
              <a:spcPct val="90000"/>
            </a:lnSpc>
            <a:spcBef>
              <a:spcPct val="0"/>
            </a:spcBef>
            <a:spcAft>
              <a:spcPct val="35000"/>
            </a:spcAft>
            <a:buNone/>
          </a:pPr>
          <a:r>
            <a:rPr lang="en-US" sz="1700" b="1" kern="1200" dirty="0">
              <a:latin typeface="Segoe UI Light" panose="020B0502040204020203" pitchFamily="34" charset="0"/>
              <a:cs typeface="Segoe UI Light" panose="020B0502040204020203" pitchFamily="34" charset="0"/>
            </a:rPr>
            <a:t>Forecasting</a:t>
          </a:r>
        </a:p>
      </dsp:txBody>
      <dsp:txXfrm>
        <a:off x="8127793" y="49619"/>
        <a:ext cx="3563218" cy="489600"/>
      </dsp:txXfrm>
    </dsp:sp>
    <dsp:sp modelId="{10306505-7440-488B-9E75-8939B6AD7AED}">
      <dsp:nvSpPr>
        <dsp:cNvPr id="0" name=""/>
        <dsp:cNvSpPr/>
      </dsp:nvSpPr>
      <dsp:spPr>
        <a:xfrm>
          <a:off x="8127793" y="539219"/>
          <a:ext cx="3563218" cy="4829827"/>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0678" tIns="90678" rIns="120904" bIns="136017" numCol="1" spcCol="1270" anchor="t" anchorCtr="0">
          <a:noAutofit/>
        </a:bodyPr>
        <a:lstStyle/>
        <a:p>
          <a:pPr marL="171450" lvl="1" indent="-171450" algn="l" defTabSz="755650">
            <a:lnSpc>
              <a:spcPct val="90000"/>
            </a:lnSpc>
            <a:spcBef>
              <a:spcPct val="0"/>
            </a:spcBef>
            <a:spcAft>
              <a:spcPct val="15000"/>
            </a:spcAft>
            <a:buFont typeface="Arial" panose="020B0604020202020204" pitchFamily="34" charset="0"/>
            <a:buChar char="•"/>
          </a:pPr>
          <a:r>
            <a:rPr lang="en-US" sz="1700" kern="1200" dirty="0">
              <a:latin typeface="Segoe UI Light" panose="020B0502040204020203" pitchFamily="34" charset="0"/>
              <a:cs typeface="Segoe UI Light" panose="020B0502040204020203" pitchFamily="34" charset="0"/>
            </a:rPr>
            <a:t>Grain Index Featurization &amp; Grouping</a:t>
          </a:r>
        </a:p>
        <a:p>
          <a:pPr marL="171450" lvl="1" indent="-171450" algn="l" defTabSz="755650">
            <a:lnSpc>
              <a:spcPct val="90000"/>
            </a:lnSpc>
            <a:spcBef>
              <a:spcPct val="0"/>
            </a:spcBef>
            <a:spcAft>
              <a:spcPct val="15000"/>
            </a:spcAft>
            <a:buChar char="•"/>
          </a:pPr>
          <a:r>
            <a:rPr lang="en-US" sz="1700" kern="1200" dirty="0">
              <a:latin typeface="Segoe UI Light" panose="020B0502040204020203" pitchFamily="34" charset="0"/>
              <a:cs typeface="Segoe UI Light" panose="020B0502040204020203" pitchFamily="34" charset="0"/>
            </a:rPr>
            <a:t>Missing row imputation, including target column</a:t>
          </a:r>
        </a:p>
        <a:p>
          <a:pPr marL="171450" lvl="1" indent="-171450" algn="l" defTabSz="755650">
            <a:lnSpc>
              <a:spcPct val="90000"/>
            </a:lnSpc>
            <a:spcBef>
              <a:spcPct val="0"/>
            </a:spcBef>
            <a:spcAft>
              <a:spcPct val="15000"/>
            </a:spcAft>
            <a:buChar char="•"/>
          </a:pPr>
          <a:r>
            <a:rPr lang="en-US" sz="1700" kern="1200">
              <a:latin typeface="Segoe UI Light" panose="020B0502040204020203" pitchFamily="34" charset="0"/>
              <a:cs typeface="Segoe UI Light" panose="020B0502040204020203" pitchFamily="34" charset="0"/>
            </a:rPr>
            <a:t>Improved time index featurization</a:t>
          </a:r>
          <a:endParaRPr lang="en-US" sz="1700" kern="1200" dirty="0">
            <a:latin typeface="Segoe UI Light" panose="020B0502040204020203" pitchFamily="34" charset="0"/>
            <a:cs typeface="Segoe UI Light" panose="020B0502040204020203" pitchFamily="34" charset="0"/>
          </a:endParaRPr>
        </a:p>
        <a:p>
          <a:pPr marL="171450" lvl="1" indent="-171450" algn="l" defTabSz="755650">
            <a:lnSpc>
              <a:spcPct val="90000"/>
            </a:lnSpc>
            <a:spcBef>
              <a:spcPct val="0"/>
            </a:spcBef>
            <a:spcAft>
              <a:spcPct val="15000"/>
            </a:spcAft>
            <a:buChar char="•"/>
          </a:pPr>
          <a:r>
            <a:rPr lang="en-US" sz="1700" kern="1200">
              <a:latin typeface="Segoe UI Light" panose="020B0502040204020203" pitchFamily="34" charset="0"/>
              <a:cs typeface="Segoe UI Light" panose="020B0502040204020203" pitchFamily="34" charset="0"/>
            </a:rPr>
            <a:t>Guidance on time-series specific train/validation/test split</a:t>
          </a:r>
          <a:endParaRPr lang="en-US" sz="1700" kern="1200" dirty="0">
            <a:latin typeface="Segoe UI Light" panose="020B0502040204020203" pitchFamily="34" charset="0"/>
            <a:cs typeface="Segoe UI Light" panose="020B0502040204020203" pitchFamily="34" charset="0"/>
          </a:endParaRPr>
        </a:p>
        <a:p>
          <a:pPr marL="171450" lvl="1" indent="-171450" algn="l" defTabSz="755650">
            <a:lnSpc>
              <a:spcPct val="90000"/>
            </a:lnSpc>
            <a:spcBef>
              <a:spcPct val="0"/>
            </a:spcBef>
            <a:spcAft>
              <a:spcPct val="15000"/>
            </a:spcAft>
            <a:buChar char="•"/>
          </a:pPr>
          <a:r>
            <a:rPr lang="en-US" sz="1700" kern="1200">
              <a:latin typeface="Segoe UI Light" panose="020B0502040204020203" pitchFamily="34" charset="0"/>
              <a:cs typeface="Segoe UI Light" panose="020B0502040204020203" pitchFamily="34" charset="0"/>
            </a:rPr>
            <a:t>Drop Column </a:t>
          </a:r>
          <a:endParaRPr lang="en-US" sz="1700" kern="1200" dirty="0">
            <a:latin typeface="Segoe UI Light" panose="020B0502040204020203" pitchFamily="34" charset="0"/>
            <a:cs typeface="Segoe UI Light" panose="020B0502040204020203" pitchFamily="34" charset="0"/>
          </a:endParaRPr>
        </a:p>
        <a:p>
          <a:pPr marL="342900" lvl="2" indent="-171450" algn="l" defTabSz="755650">
            <a:lnSpc>
              <a:spcPct val="90000"/>
            </a:lnSpc>
            <a:spcBef>
              <a:spcPct val="0"/>
            </a:spcBef>
            <a:spcAft>
              <a:spcPct val="15000"/>
            </a:spcAft>
            <a:buChar char="•"/>
          </a:pPr>
          <a:endParaRPr lang="en-US" sz="1700" kern="1200" dirty="0">
            <a:latin typeface="Segoe UI Light" panose="020B0502040204020203" pitchFamily="34" charset="0"/>
            <a:cs typeface="Segoe UI Light" panose="020B0502040204020203" pitchFamily="34" charset="0"/>
          </a:endParaRPr>
        </a:p>
        <a:p>
          <a:pPr marL="342900" lvl="2" indent="-171450" algn="l" defTabSz="755650">
            <a:lnSpc>
              <a:spcPct val="90000"/>
            </a:lnSpc>
            <a:spcBef>
              <a:spcPct val="0"/>
            </a:spcBef>
            <a:spcAft>
              <a:spcPct val="15000"/>
            </a:spcAft>
            <a:buChar char="•"/>
          </a:pPr>
          <a:r>
            <a:rPr lang="en-US" sz="1700" kern="1200" dirty="0">
              <a:latin typeface="Segoe UI Light" panose="020B0502040204020203" pitchFamily="34" charset="0"/>
              <a:cs typeface="Segoe UI Light" panose="020B0502040204020203" pitchFamily="34" charset="0"/>
            </a:rPr>
            <a:t>Roadmap</a:t>
          </a:r>
        </a:p>
        <a:p>
          <a:pPr marL="514350" lvl="3" indent="-171450" algn="l" defTabSz="755650">
            <a:lnSpc>
              <a:spcPct val="90000"/>
            </a:lnSpc>
            <a:spcBef>
              <a:spcPct val="0"/>
            </a:spcBef>
            <a:spcAft>
              <a:spcPct val="15000"/>
            </a:spcAft>
            <a:buFont typeface="Arial" panose="020B0604020202020204" pitchFamily="34" charset="0"/>
            <a:buChar char="•"/>
          </a:pPr>
          <a:r>
            <a:rPr lang="en-US" sz="1700" kern="1200" dirty="0">
              <a:latin typeface="Segoe UI Light" panose="020B0502040204020203" pitchFamily="34" charset="0"/>
              <a:cs typeface="Segoe UI Light" panose="020B0502040204020203" pitchFamily="34" charset="0"/>
            </a:rPr>
            <a:t>Confidence Interval</a:t>
          </a:r>
        </a:p>
        <a:p>
          <a:pPr marL="514350" lvl="3" indent="-171450" algn="l" defTabSz="755650">
            <a:lnSpc>
              <a:spcPct val="90000"/>
            </a:lnSpc>
            <a:spcBef>
              <a:spcPct val="0"/>
            </a:spcBef>
            <a:spcAft>
              <a:spcPct val="15000"/>
            </a:spcAft>
            <a:buChar char="•"/>
          </a:pPr>
          <a:r>
            <a:rPr lang="en-US" sz="1700" kern="1200">
              <a:latin typeface="Segoe UI Light" panose="020B0502040204020203" pitchFamily="34" charset="0"/>
              <a:cs typeface="Segoe UI Light" panose="020B0502040204020203" pitchFamily="34" charset="0"/>
            </a:rPr>
            <a:t>Lag &amp; Rolling Window</a:t>
          </a:r>
          <a:endParaRPr lang="en-US" sz="1700" kern="1200" dirty="0">
            <a:latin typeface="Segoe UI Light" panose="020B0502040204020203" pitchFamily="34" charset="0"/>
            <a:cs typeface="Segoe UI Light" panose="020B0502040204020203" pitchFamily="34" charset="0"/>
          </a:endParaRPr>
        </a:p>
        <a:p>
          <a:pPr marL="514350" lvl="3" indent="-171450" algn="l" defTabSz="755650">
            <a:lnSpc>
              <a:spcPct val="90000"/>
            </a:lnSpc>
            <a:spcBef>
              <a:spcPct val="0"/>
            </a:spcBef>
            <a:spcAft>
              <a:spcPct val="15000"/>
            </a:spcAft>
            <a:buChar char="•"/>
          </a:pPr>
          <a:r>
            <a:rPr lang="en-US" sz="1700" kern="1200">
              <a:latin typeface="Segoe UI Light" panose="020B0502040204020203" pitchFamily="34" charset="0"/>
              <a:cs typeface="Segoe UI Light" panose="020B0502040204020203" pitchFamily="34" charset="0"/>
            </a:rPr>
            <a:t>Rolling Origin Cross Validation</a:t>
          </a:r>
          <a:endParaRPr lang="en-US" sz="1700" kern="1200" dirty="0">
            <a:latin typeface="Segoe UI Light" panose="020B0502040204020203" pitchFamily="34" charset="0"/>
            <a:cs typeface="Segoe UI Light" panose="020B0502040204020203" pitchFamily="34" charset="0"/>
          </a:endParaRPr>
        </a:p>
        <a:p>
          <a:pPr marL="514350" lvl="3" indent="-171450" algn="l" defTabSz="755650">
            <a:lnSpc>
              <a:spcPct val="90000"/>
            </a:lnSpc>
            <a:spcBef>
              <a:spcPct val="0"/>
            </a:spcBef>
            <a:spcAft>
              <a:spcPct val="15000"/>
            </a:spcAft>
            <a:buChar char="•"/>
          </a:pPr>
          <a:r>
            <a:rPr lang="en-US" sz="1700" kern="1200">
              <a:latin typeface="Segoe UI Light" panose="020B0502040204020203" pitchFamily="34" charset="0"/>
              <a:cs typeface="Segoe UI Light" panose="020B0502040204020203" pitchFamily="34" charset="0"/>
            </a:rPr>
            <a:t>External Dataset</a:t>
          </a:r>
          <a:endParaRPr lang="en-US" sz="1700" kern="1200" dirty="0">
            <a:latin typeface="Segoe UI Light" panose="020B0502040204020203" pitchFamily="34" charset="0"/>
            <a:cs typeface="Segoe UI Light" panose="020B0502040204020203" pitchFamily="34" charset="0"/>
          </a:endParaRPr>
        </a:p>
        <a:p>
          <a:pPr marL="514350" lvl="3" indent="-171450" algn="l" defTabSz="755650">
            <a:lnSpc>
              <a:spcPct val="90000"/>
            </a:lnSpc>
            <a:spcBef>
              <a:spcPct val="0"/>
            </a:spcBef>
            <a:spcAft>
              <a:spcPct val="15000"/>
            </a:spcAft>
            <a:buChar char="•"/>
          </a:pPr>
          <a:r>
            <a:rPr lang="en-US" sz="1700" kern="1200">
              <a:latin typeface="Segoe UI Light" panose="020B0502040204020203" pitchFamily="34" charset="0"/>
              <a:cs typeface="Segoe UI Light" panose="020B0502040204020203" pitchFamily="34" charset="0"/>
            </a:rPr>
            <a:t>Cross Time Predication</a:t>
          </a:r>
          <a:endParaRPr lang="en-US" sz="1700" kern="1200" dirty="0">
            <a:latin typeface="Segoe UI Light" panose="020B0502040204020203" pitchFamily="34" charset="0"/>
            <a:cs typeface="Segoe UI Light" panose="020B0502040204020203" pitchFamily="34" charset="0"/>
          </a:endParaRPr>
        </a:p>
      </dsp:txBody>
      <dsp:txXfrm>
        <a:off x="8127793" y="539219"/>
        <a:ext cx="3563218" cy="4829827"/>
      </dsp:txXfrm>
    </dsp:sp>
  </dsp:spTree>
</dsp:drawing>
</file>

<file path=ppt/diagrams/layout1.xml><?xml version="1.0" encoding="utf-8"?>
<dgm:layoutDef xmlns:dgm="http://schemas.openxmlformats.org/drawingml/2006/diagram" xmlns:a="http://schemas.openxmlformats.org/drawingml/2006/main" uniqueId="urn:microsoft.com/office/officeart/2005/8/layout/target3">
  <dgm:title val=""/>
  <dgm:desc val=""/>
  <dgm:catLst>
    <dgm:cat type="relationship" pri="11000"/>
    <dgm:cat type="list" pri="22000"/>
    <dgm:cat type="convert"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tyleData>
  <dgm:clr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clrData>
  <dgm:layoutNode name="Name0">
    <dgm:varLst>
      <dgm:chMax val="7"/>
      <dgm:dir/>
      <dgm:animLvl val="lvl"/>
      <dgm:resizeHandles val="exact"/>
    </dgm:varLst>
    <dgm:alg type="composite"/>
    <dgm:shape xmlns:r="http://schemas.openxmlformats.org/officeDocument/2006/relationships" r:blip="">
      <dgm:adjLst/>
    </dgm:shape>
    <dgm:presOf/>
    <dgm:choose name="Name1">
      <dgm:if name="Name2" func="var" arg="dir" op="equ" val="norm">
        <dgm:choose name="Name3">
          <dgm:if name="Name4" axis="ch" ptType="node" func="cnt" op="equ" val="1">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rect1ParTx" refType="r" refFor="ch" refForName="space"/>
              <dgm:constr type="w" for="ch" forName="rect1ParTx" refType="w" refFor="ch" refForName="rect1" fact="0.5"/>
              <dgm:constr type="t" for="ch" forName="rect1ParTx" refType="t" refFor="ch" refForName="rect1"/>
              <dgm:constr type="b" for="ch" forName="rect1ParTx" refType="b" refFor="ch" refForName="rect1"/>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5" axis="ch" ptType="node" func="cnt" op="equ" val="2">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rect2ParTx" refType="r" refFor="ch" refForName="space"/>
              <dgm:constr type="w" for="ch" forName="rect2ParTx" refType="w" refFor="ch" refForName="rect2" fact="0.5"/>
              <dgm:constr type="t" for="ch" forName="rect2ParTx" refType="t" refFor="ch" refForName="rect2"/>
              <dgm:constr type="b" for="ch" forName="rect2ParTx" refType="b" refFor="ch" refForName="rect2"/>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b" refFor="ch" refForName="rect2"/>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6" axis="ch" ptType="node" func="cnt" op="equ" val="3">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rect3ParTx" refType="r" refFor="ch" refForName="space"/>
              <dgm:constr type="w" for="ch" forName="rect3ParTx" refType="w" refFor="ch" refForName="rect3" fact="0.5"/>
              <dgm:constr type="t" for="ch" forName="rect3ParTx" refType="t" refFor="ch" refForName="rect3"/>
              <dgm:constr type="b" for="ch" forName="rect3ParTx" refType="b" refFor="ch" refForName="rect3"/>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b" refFor="ch" refForName="rect3"/>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7" axis="ch" ptType="node" func="cnt" op="equ" val="4">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rect4ParTx" refType="r" refFor="ch" refForName="space"/>
              <dgm:constr type="w" for="ch" forName="rect4ParTx" refType="w" refFor="ch" refForName="rect4" fact="0.5"/>
              <dgm:constr type="t" for="ch" forName="rect4ParTx" refType="t" refFor="ch" refForName="rect4"/>
              <dgm:constr type="b" for="ch" forName="rect4ParTx" refType="b" refFor="ch" refForName="rect4"/>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b" refFor="ch" refForName="rect4"/>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8" axis="ch" ptType="node" func="cnt" op="equ" val="5">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rect5ParTx" refType="r" refFor="ch" refForName="space"/>
              <dgm:constr type="w" for="ch" forName="rect5ParTx" refType="w" refFor="ch" refForName="rect5" fact="0.5"/>
              <dgm:constr type="t" for="ch" forName="rect5ParTx" refType="t" refFor="ch" refForName="rect5"/>
              <dgm:constr type="b" for="ch" forName="rect5ParTx" refType="b" refFor="ch" refForName="rect5"/>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b" refFor="ch" refForName="rect5"/>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9" axis="ch" ptType="node" func="cnt" op="equ" val="6">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rect6ParTx" refType="r" refFor="ch" refForName="space"/>
              <dgm:constr type="w" for="ch" forName="rect6ParTx" refType="w" refFor="ch" refForName="rect6" fact="0.5"/>
              <dgm:constr type="t" for="ch" forName="rect6ParTx" refType="t" refFor="ch" refForName="rect6"/>
              <dgm:constr type="b" for="ch" forName="rect6ParTx" refType="b" refFor="ch" refForName="rect6"/>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b" refFor="ch" refForName="rect6"/>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10" axis="ch" ptType="node" func="cnt" op="gte" val="7">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l"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l" for="ch" forName="rect7" refType="r" refFor="ch" refForName="space"/>
              <dgm:constr type="r" for="ch" forName="rect7" refType="w"/>
              <dgm:constr type="h" for="ch" forName="rect7" refType="h" refFor="ch" refForName="circle7"/>
              <dgm:constr type="hOff" for="ch" forName="rect7" refType="hOff" refFor="ch" refForName="circle7"/>
              <dgm:constr type="b" for="ch" forName="rect7" refType="b" refFor="ch" refForName="circle7"/>
              <dgm:constr type="l" for="ch" forName="rect7ParTx" refType="r" refFor="ch" refForName="space"/>
              <dgm:constr type="w" for="ch" forName="rect7ParTx" refType="w" refFor="ch" refForName="rect7" fact="0.5"/>
              <dgm:constr type="t" for="ch" forName="rect7ParTx" refType="t" refFor="ch" refForName="rect7"/>
              <dgm:constr type="b" for="ch" forName="rect7ParTx" refType="b" refFor="ch" refForName="rect7"/>
              <dgm:constr type="l" for="ch" forName="rect7ChTx" refType="r" refFor="ch" refForName="rect7ParTx"/>
              <dgm:constr type="w" for="ch" forName="rect7ChTx" refType="w" refFor="ch" refForName="rect7ParTx"/>
              <dgm:constr type="t" for="ch" forName="rect7ChTx" refType="t" refFor="ch" refForName="rect7ParTx"/>
              <dgm:constr type="b" for="ch" forName="rect7ChTx" refType="b" refFor="ch" refForName="rect7ParTx"/>
              <dgm:constr type="l" for="ch" forName="rect7ParTxNoCh" refType="r" refFor="ch" refForName="space"/>
              <dgm:constr type="w" for="ch" forName="rect7ParTxNoCh" refType="w" refFor="ch" refForName="rect7"/>
              <dgm:constr type="t" for="ch" forName="rect7ParTxNoCh" refType="t" refFor="ch" refForName="rect7"/>
              <dgm:constr type="b" for="ch" forName="rect7ParTxNoCh" refType="b" refFor="ch" refForName="rect7"/>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l" for="ch" forName="rect6ParTx" refType="r" refFor="ch" refForName="space"/>
              <dgm:constr type="w" for="ch" forName="rect6ParTx" refType="w" refFor="ch" refForName="rect6" fact="0.5"/>
              <dgm:constr type="t" for="ch" forName="rect6ParTx" refType="t" refFor="ch" refForName="rect6"/>
              <dgm:constr type="b" for="ch" forName="rect6ParTx" refType="t" refFor="ch" refForName="rect7"/>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11">
            <dgm:constrLst/>
          </dgm:else>
        </dgm:choose>
      </dgm:if>
      <dgm:else name="Name12">
        <dgm:choose name="Name13">
          <dgm:if name="Name14" axis="ch" ptType="node" func="cnt" op="equ" val="1">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r" for="ch" forName="rect1ParTx" refType="l" refFor="ch" refForName="space"/>
              <dgm:constr type="w" for="ch" forName="rect1ParTx" refType="w" refFor="ch" refForName="rect1" fact="0.5"/>
              <dgm:constr type="t" for="ch" forName="rect1ParTx" refType="t" refFor="ch" refForName="rect1"/>
              <dgm:constr type="b" for="ch" forName="rect1ParTx" refType="b" refFor="ch" refForName="rect1"/>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15" axis="ch" ptType="node" func="cnt" op="equ" val="2">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r" for="ch" forName="rect2ParTx" refType="l" refFor="ch" refForName="space"/>
              <dgm:constr type="w" for="ch" forName="rect2ParTx" refType="w" refFor="ch" refForName="rect2" fact="0.5"/>
              <dgm:constr type="t" for="ch" forName="rect2ParTx" refType="t" refFor="ch" refForName="rect2"/>
              <dgm:constr type="b" for="ch" forName="rect2ParTx" refType="b" refFor="ch" refForName="rect2"/>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b" refFor="ch" refForName="rect2"/>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16" axis="ch" ptType="node" func="cnt" op="equ" val="3">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r" for="ch" forName="rect3ParTx" refType="l" refFor="ch" refForName="space"/>
              <dgm:constr type="w" for="ch" forName="rect3ParTx" refType="w" refFor="ch" refForName="rect3" fact="0.5"/>
              <dgm:constr type="t" for="ch" forName="rect3ParTx" refType="t" refFor="ch" refForName="rect3"/>
              <dgm:constr type="b" for="ch" forName="rect3ParTx" refType="b" refFor="ch" refForName="rect3"/>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b" refFor="ch" refForName="rect3"/>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17" axis="ch" ptType="node" func="cnt" op="equ" val="4">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r" for="ch" forName="rect4ParTx" refType="l" refFor="ch" refForName="space"/>
              <dgm:constr type="w" for="ch" forName="rect4ParTx" refType="w" refFor="ch" refForName="rect4" fact="0.5"/>
              <dgm:constr type="t" for="ch" forName="rect4ParTx" refType="t" refFor="ch" refForName="rect4"/>
              <dgm:constr type="b" for="ch" forName="rect4ParTx" refType="b" refFor="ch" refForName="rect4"/>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b" refFor="ch" refForName="rect4"/>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18" axis="ch" ptType="node" func="cnt" op="equ" val="5">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r" for="ch" forName="rect5ParTx" refType="l" refFor="ch" refForName="space"/>
              <dgm:constr type="w" for="ch" forName="rect5ParTx" refType="w" refFor="ch" refForName="rect5" fact="0.5"/>
              <dgm:constr type="t" for="ch" forName="rect5ParTx" refType="t" refFor="ch" refForName="rect5"/>
              <dgm:constr type="b" for="ch" forName="rect5ParTx" refType="b" refFor="ch" refForName="rect5"/>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b" refFor="ch" refForName="rect5"/>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19" axis="ch" ptType="node" func="cnt" op="equ" val="6">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r" for="ch" forName="rect6ParTx" refType="l" refFor="ch" refForName="space"/>
              <dgm:constr type="w" for="ch" forName="rect6ParTx" refType="w" refFor="ch" refForName="rect6" fact="0.5"/>
              <dgm:constr type="t" for="ch" forName="rect6ParTx" refType="t" refFor="ch" refForName="rect6"/>
              <dgm:constr type="b" for="ch" forName="rect6ParTx" refType="b" refFor="ch" refForName="rect6"/>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b" refFor="ch" refForName="rect6"/>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20" axis="ch" ptType="node" func="cnt" op="gte" val="7">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r"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r" for="ch" forName="rect7" refType="l" refFor="ch" refForName="space"/>
              <dgm:constr type="l" for="ch" forName="rect7"/>
              <dgm:constr type="h" for="ch" forName="rect7" refType="h" refFor="ch" refForName="circle7"/>
              <dgm:constr type="hOff" for="ch" forName="rect7" refType="hOff" refFor="ch" refForName="circle7"/>
              <dgm:constr type="b" for="ch" forName="rect7" refType="b" refFor="ch" refForName="circle7"/>
              <dgm:constr type="r" for="ch" forName="rect7ParTx" refType="l" refFor="ch" refForName="space"/>
              <dgm:constr type="w" for="ch" forName="rect7ParTx" refType="w" refFor="ch" refForName="rect7" fact="0.5"/>
              <dgm:constr type="t" for="ch" forName="rect7ParTx" refType="t" refFor="ch" refForName="rect7"/>
              <dgm:constr type="b" for="ch" forName="rect7ParTx" refType="b" refFor="ch" refForName="rect7"/>
              <dgm:constr type="r" for="ch" forName="rect7ChTx" refType="l" refFor="ch" refForName="rect7ParTx"/>
              <dgm:constr type="w" for="ch" forName="rect7ChTx" refType="w" refFor="ch" refForName="rect7ParTx"/>
              <dgm:constr type="t" for="ch" forName="rect7ChTx" refType="t" refFor="ch" refForName="rect7ParTx"/>
              <dgm:constr type="b" for="ch" forName="rect7ChTx" refType="b" refFor="ch" refForName="rect7ParTx"/>
              <dgm:constr type="r" for="ch" forName="rect7ParTxNoCh" refType="l" refFor="ch" refForName="space"/>
              <dgm:constr type="w" for="ch" forName="rect7ParTxNoCh" refType="w" refFor="ch" refForName="rect7"/>
              <dgm:constr type="t" for="ch" forName="rect7ParTxNoCh" refType="t" refFor="ch" refForName="rect7"/>
              <dgm:constr type="b" for="ch" forName="rect7ParTxNoCh" refType="b" refFor="ch" refForName="rect7"/>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r" for="ch" forName="rect6ParTx" refType="l" refFor="ch" refForName="space"/>
              <dgm:constr type="w" for="ch" forName="rect6ParTx" refType="w" refFor="ch" refForName="rect6" fact="0.5"/>
              <dgm:constr type="t" for="ch" forName="rect6ParTx" refType="t" refFor="ch" refForName="rect6"/>
              <dgm:constr type="b" for="ch" forName="rect6ParTx" refType="t" refFor="ch" refForName="rect7"/>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21">
            <dgm:constrLst/>
          </dgm:else>
        </dgm:choose>
      </dgm:else>
    </dgm:choose>
    <dgm:ruleLst/>
    <dgm:forEach name="Name22" axis="ch" ptType="node" cnt="1">
      <dgm:layoutNode name="circle1" styleLbl="node1">
        <dgm:alg type="sp"/>
        <dgm:choose name="Name23">
          <dgm:if name="Name24" func="var" arg="dir" op="equ" val="norm">
            <dgm:shape xmlns:r="http://schemas.openxmlformats.org/officeDocument/2006/relationships" type="pie" r:blip="">
              <dgm:adjLst>
                <dgm:adj idx="1" val="90"/>
                <dgm:adj idx="2" val="270"/>
              </dgm:adjLst>
            </dgm:shape>
          </dgm:if>
          <dgm:else name="Name25">
            <dgm:shape xmlns:r="http://schemas.openxmlformats.org/officeDocument/2006/relationships" type="pie" r:blip="">
              <dgm:adjLst>
                <dgm:adj idx="1" val="270"/>
                <dgm:adj idx="2" val="90"/>
              </dgm:adjLst>
            </dgm:shape>
          </dgm:else>
        </dgm:choose>
        <dgm:presOf/>
        <dgm:constrLst/>
        <dgm:ruleLst/>
      </dgm:layoutNode>
      <dgm:layoutNode name="space">
        <dgm:alg type="sp"/>
        <dgm:shape xmlns:r="http://schemas.openxmlformats.org/officeDocument/2006/relationships" r:blip="">
          <dgm:adjLst/>
        </dgm:shape>
        <dgm:presOf/>
        <dgm:constrLst/>
        <dgm:ruleLst/>
      </dgm:layoutNode>
      <dgm:layoutNode name="rect1" styleLbl="alignAcc1">
        <dgm:alg type="sp"/>
        <dgm:shape xmlns:r="http://schemas.openxmlformats.org/officeDocument/2006/relationships" type="rect" r:blip="">
          <dgm:adjLst/>
        </dgm:shape>
        <dgm:presOf axis="self"/>
        <dgm:constrLst/>
        <dgm:ruleLst/>
      </dgm:layoutNode>
    </dgm:forEach>
    <dgm:forEach name="Name26" axis="ch" ptType="node" st="2" cnt="1">
      <dgm:layoutNode name="vertSpace2">
        <dgm:alg type="sp"/>
        <dgm:shape xmlns:r="http://schemas.openxmlformats.org/officeDocument/2006/relationships" type="rect" r:blip="" hideGeom="1">
          <dgm:adjLst/>
        </dgm:shape>
        <dgm:presOf/>
        <dgm:constrLst/>
        <dgm:ruleLst/>
      </dgm:layoutNode>
      <dgm:layoutNode name="circle2" styleLbl="node1">
        <dgm:alg type="sp"/>
        <dgm:choose name="Name27">
          <dgm:if name="Name28" func="var" arg="dir" op="equ" val="norm">
            <dgm:shape xmlns:r="http://schemas.openxmlformats.org/officeDocument/2006/relationships" type="pie" r:blip="">
              <dgm:adjLst>
                <dgm:adj idx="1" val="90"/>
                <dgm:adj idx="2" val="270"/>
              </dgm:adjLst>
            </dgm:shape>
          </dgm:if>
          <dgm:else name="Name29">
            <dgm:shape xmlns:r="http://schemas.openxmlformats.org/officeDocument/2006/relationships" type="pie" r:blip="">
              <dgm:adjLst>
                <dgm:adj idx="1" val="270"/>
                <dgm:adj idx="2" val="90"/>
              </dgm:adjLst>
            </dgm:shape>
          </dgm:else>
        </dgm:choose>
        <dgm:presOf/>
        <dgm:constrLst/>
        <dgm:ruleLst/>
      </dgm:layoutNode>
      <dgm:layoutNode name="rect2" styleLbl="alignAcc1">
        <dgm:alg type="sp"/>
        <dgm:shape xmlns:r="http://schemas.openxmlformats.org/officeDocument/2006/relationships" type="rect" r:blip="">
          <dgm:adjLst/>
        </dgm:shape>
        <dgm:presOf axis="self"/>
        <dgm:constrLst/>
        <dgm:ruleLst/>
      </dgm:layoutNode>
    </dgm:forEach>
    <dgm:forEach name="Name30" axis="ch" ptType="node" st="3" cnt="1">
      <dgm:layoutNode name="vertSpace3">
        <dgm:alg type="sp"/>
        <dgm:shape xmlns:r="http://schemas.openxmlformats.org/officeDocument/2006/relationships" type="rect" r:blip="" hideGeom="1">
          <dgm:adjLst/>
        </dgm:shape>
        <dgm:presOf/>
        <dgm:constrLst/>
        <dgm:ruleLst/>
      </dgm:layoutNode>
      <dgm:layoutNode name="circle3" styleLbl="node1">
        <dgm:alg type="sp"/>
        <dgm:choose name="Name31">
          <dgm:if name="Name32" func="var" arg="dir" op="equ" val="norm">
            <dgm:shape xmlns:r="http://schemas.openxmlformats.org/officeDocument/2006/relationships" type="pie" r:blip="">
              <dgm:adjLst>
                <dgm:adj idx="1" val="90"/>
                <dgm:adj idx="2" val="270"/>
              </dgm:adjLst>
            </dgm:shape>
          </dgm:if>
          <dgm:else name="Name33">
            <dgm:shape xmlns:r="http://schemas.openxmlformats.org/officeDocument/2006/relationships" type="pie" r:blip="">
              <dgm:adjLst>
                <dgm:adj idx="1" val="270"/>
                <dgm:adj idx="2" val="90"/>
              </dgm:adjLst>
            </dgm:shape>
          </dgm:else>
        </dgm:choose>
        <dgm:presOf/>
        <dgm:constrLst/>
        <dgm:ruleLst/>
      </dgm:layoutNode>
      <dgm:layoutNode name="rect3" styleLbl="alignAcc1">
        <dgm:alg type="sp"/>
        <dgm:shape xmlns:r="http://schemas.openxmlformats.org/officeDocument/2006/relationships" type="rect" r:blip="">
          <dgm:adjLst/>
        </dgm:shape>
        <dgm:presOf axis="self"/>
        <dgm:constrLst/>
        <dgm:ruleLst/>
      </dgm:layoutNode>
    </dgm:forEach>
    <dgm:forEach name="Name34" axis="ch" ptType="node" st="4" cnt="1">
      <dgm:layoutNode name="vertSpace4">
        <dgm:alg type="sp"/>
        <dgm:shape xmlns:r="http://schemas.openxmlformats.org/officeDocument/2006/relationships" type="rect" r:blip="" hideGeom="1">
          <dgm:adjLst/>
        </dgm:shape>
        <dgm:presOf/>
        <dgm:constrLst/>
        <dgm:ruleLst/>
      </dgm:layoutNode>
      <dgm:layoutNode name="circle4" styleLbl="node1">
        <dgm:alg type="sp"/>
        <dgm:choose name="Name35">
          <dgm:if name="Name36" func="var" arg="dir" op="equ" val="norm">
            <dgm:shape xmlns:r="http://schemas.openxmlformats.org/officeDocument/2006/relationships" type="pie" r:blip="">
              <dgm:adjLst>
                <dgm:adj idx="1" val="90"/>
                <dgm:adj idx="2" val="270"/>
              </dgm:adjLst>
            </dgm:shape>
          </dgm:if>
          <dgm:else name="Name37">
            <dgm:shape xmlns:r="http://schemas.openxmlformats.org/officeDocument/2006/relationships" type="pie" r:blip="">
              <dgm:adjLst>
                <dgm:adj idx="1" val="270"/>
                <dgm:adj idx="2" val="90"/>
              </dgm:adjLst>
            </dgm:shape>
          </dgm:else>
        </dgm:choose>
        <dgm:presOf/>
        <dgm:constrLst/>
        <dgm:ruleLst/>
      </dgm:layoutNode>
      <dgm:layoutNode name="rect4" styleLbl="alignAcc1">
        <dgm:alg type="sp"/>
        <dgm:shape xmlns:r="http://schemas.openxmlformats.org/officeDocument/2006/relationships" type="rect" r:blip="">
          <dgm:adjLst/>
        </dgm:shape>
        <dgm:presOf axis="self"/>
        <dgm:constrLst/>
        <dgm:ruleLst/>
      </dgm:layoutNode>
    </dgm:forEach>
    <dgm:forEach name="Name38" axis="ch" ptType="node" st="5" cnt="1">
      <dgm:layoutNode name="vertSpace5">
        <dgm:alg type="sp"/>
        <dgm:shape xmlns:r="http://schemas.openxmlformats.org/officeDocument/2006/relationships" type="rect" r:blip="" hideGeom="1">
          <dgm:adjLst/>
        </dgm:shape>
        <dgm:presOf/>
        <dgm:constrLst/>
        <dgm:ruleLst/>
      </dgm:layoutNode>
      <dgm:layoutNode name="circle5" styleLbl="node1">
        <dgm:alg type="sp"/>
        <dgm:choose name="Name39">
          <dgm:if name="Name40" func="var" arg="dir" op="equ" val="norm">
            <dgm:shape xmlns:r="http://schemas.openxmlformats.org/officeDocument/2006/relationships" type="pie" r:blip="">
              <dgm:adjLst>
                <dgm:adj idx="1" val="90"/>
                <dgm:adj idx="2" val="270"/>
              </dgm:adjLst>
            </dgm:shape>
          </dgm:if>
          <dgm:else name="Name41">
            <dgm:shape xmlns:r="http://schemas.openxmlformats.org/officeDocument/2006/relationships" type="pie" r:blip="">
              <dgm:adjLst>
                <dgm:adj idx="1" val="270"/>
                <dgm:adj idx="2" val="90"/>
              </dgm:adjLst>
            </dgm:shape>
          </dgm:else>
        </dgm:choose>
        <dgm:presOf/>
        <dgm:constrLst/>
        <dgm:ruleLst/>
      </dgm:layoutNode>
      <dgm:layoutNode name="rect5" styleLbl="alignAcc1">
        <dgm:alg type="sp"/>
        <dgm:shape xmlns:r="http://schemas.openxmlformats.org/officeDocument/2006/relationships" type="rect" r:blip="">
          <dgm:adjLst/>
        </dgm:shape>
        <dgm:presOf axis="self"/>
        <dgm:constrLst/>
        <dgm:ruleLst/>
      </dgm:layoutNode>
    </dgm:forEach>
    <dgm:forEach name="Name42" axis="ch" ptType="node" st="6" cnt="1">
      <dgm:layoutNode name="vertSpace6">
        <dgm:alg type="sp"/>
        <dgm:shape xmlns:r="http://schemas.openxmlformats.org/officeDocument/2006/relationships" type="rect" r:blip="" hideGeom="1">
          <dgm:adjLst/>
        </dgm:shape>
        <dgm:presOf/>
        <dgm:constrLst/>
        <dgm:ruleLst/>
      </dgm:layoutNode>
      <dgm:layoutNode name="circle6" styleLbl="node1">
        <dgm:alg type="sp"/>
        <dgm:choose name="Name43">
          <dgm:if name="Name44" func="var" arg="dir" op="equ" val="norm">
            <dgm:shape xmlns:r="http://schemas.openxmlformats.org/officeDocument/2006/relationships" type="pie" r:blip="">
              <dgm:adjLst>
                <dgm:adj idx="1" val="90"/>
                <dgm:adj idx="2" val="270"/>
              </dgm:adjLst>
            </dgm:shape>
          </dgm:if>
          <dgm:else name="Name45">
            <dgm:shape xmlns:r="http://schemas.openxmlformats.org/officeDocument/2006/relationships" type="pie" r:blip="">
              <dgm:adjLst>
                <dgm:adj idx="1" val="270"/>
                <dgm:adj idx="2" val="90"/>
              </dgm:adjLst>
            </dgm:shape>
          </dgm:else>
        </dgm:choose>
        <dgm:presOf/>
        <dgm:constrLst/>
        <dgm:ruleLst/>
      </dgm:layoutNode>
      <dgm:layoutNode name="rect6" styleLbl="alignAcc1">
        <dgm:alg type="sp"/>
        <dgm:shape xmlns:r="http://schemas.openxmlformats.org/officeDocument/2006/relationships" type="rect" r:blip="">
          <dgm:adjLst/>
        </dgm:shape>
        <dgm:presOf axis="self"/>
        <dgm:constrLst/>
        <dgm:ruleLst/>
      </dgm:layoutNode>
    </dgm:forEach>
    <dgm:forEach name="Name46" axis="ch" ptType="node" st="7" cnt="1">
      <dgm:layoutNode name="vertSpace7">
        <dgm:alg type="sp"/>
        <dgm:shape xmlns:r="http://schemas.openxmlformats.org/officeDocument/2006/relationships" type="rect" r:blip="" hideGeom="1">
          <dgm:adjLst/>
        </dgm:shape>
        <dgm:presOf/>
        <dgm:constrLst/>
        <dgm:ruleLst/>
      </dgm:layoutNode>
      <dgm:layoutNode name="circle7" styleLbl="node1">
        <dgm:alg type="sp"/>
        <dgm:choose name="Name47">
          <dgm:if name="Name48" func="var" arg="dir" op="equ" val="norm">
            <dgm:shape xmlns:r="http://schemas.openxmlformats.org/officeDocument/2006/relationships" type="pie" r:blip="">
              <dgm:adjLst>
                <dgm:adj idx="1" val="90"/>
                <dgm:adj idx="2" val="270"/>
              </dgm:adjLst>
            </dgm:shape>
          </dgm:if>
          <dgm:else name="Name49">
            <dgm:shape xmlns:r="http://schemas.openxmlformats.org/officeDocument/2006/relationships" type="pie" r:blip="">
              <dgm:adjLst>
                <dgm:adj idx="1" val="270"/>
                <dgm:adj idx="2" val="90"/>
              </dgm:adjLst>
            </dgm:shape>
          </dgm:else>
        </dgm:choose>
        <dgm:presOf/>
        <dgm:constrLst/>
        <dgm:ruleLst/>
      </dgm:layoutNode>
      <dgm:layoutNode name="rect7" styleLbl="alignAcc1">
        <dgm:alg type="sp"/>
        <dgm:shape xmlns:r="http://schemas.openxmlformats.org/officeDocument/2006/relationships" type="rect" r:blip="">
          <dgm:adjLst/>
        </dgm:shape>
        <dgm:presOf axis="self"/>
        <dgm:constrLst/>
        <dgm:ruleLst/>
      </dgm:layoutNode>
    </dgm:forEach>
    <dgm:forEach name="Name50" axis="ch" ptType="node" cnt="1">
      <dgm:choose name="Name51">
        <dgm:if name="Name52" axis="root des" ptType="all node" func="maxDepth" op="gte" val="2">
          <dgm:layoutNode name="rect1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1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3">
          <dgm:layoutNode name="rect1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4" axis="ch" ptType="node" st="2" cnt="1">
      <dgm:choose name="Name55">
        <dgm:if name="Name56" axis="root des" ptType="all node" func="maxDepth" op="gte" val="2">
          <dgm:layoutNode name="rect2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2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7">
          <dgm:layoutNode name="rect2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8" axis="ch" ptType="node" st="3" cnt="1">
      <dgm:choose name="Name59">
        <dgm:if name="Name60" axis="root des" ptType="all node" func="maxDepth" op="gte" val="2">
          <dgm:layoutNode name="rect3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3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1">
          <dgm:layoutNode name="rect3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2" axis="ch" ptType="node" st="4" cnt="1">
      <dgm:choose name="Name63">
        <dgm:if name="Name64" axis="root des" ptType="all node" func="maxDepth" op="gte" val="2">
          <dgm:layoutNode name="rect4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4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5">
          <dgm:layoutNode name="rect4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6" axis="ch" ptType="node" st="5" cnt="1">
      <dgm:choose name="Name67">
        <dgm:if name="Name68" axis="root des" ptType="all node" func="maxDepth" op="gte" val="2">
          <dgm:layoutNode name="rect5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5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9">
          <dgm:layoutNode name="rect5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0" axis="ch" ptType="node" st="6" cnt="1">
      <dgm:choose name="Name71">
        <dgm:if name="Name72" axis="root des" ptType="all node" func="maxDepth" op="gte" val="2">
          <dgm:layoutNode name="rect6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6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3">
          <dgm:layoutNode name="rect6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4" axis="ch" ptType="node" st="7" cnt="1">
      <dgm:choose name="Name75">
        <dgm:if name="Name76" axis="root des" ptType="all node" func="maxDepth" op="gte" val="2">
          <dgm:layoutNode name="rect7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7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7">
          <dgm:layoutNode name="rect7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5D296C5-6611-4B1E-901F-5DA5E1B4AE74}" type="datetimeFigureOut">
              <a:rPr lang="en-US" smtClean="0"/>
              <a:t>3/14/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05A8AB0-C555-45F4-8761-F7526B715936}" type="slidenum">
              <a:rPr lang="en-US" smtClean="0"/>
              <a:t>‹#›</a:t>
            </a:fld>
            <a:endParaRPr lang="en-US"/>
          </a:p>
        </p:txBody>
      </p:sp>
    </p:spTree>
    <p:extLst>
      <p:ext uri="{BB962C8B-B14F-4D97-AF65-F5344CB8AC3E}">
        <p14:creationId xmlns:p14="http://schemas.microsoft.com/office/powerpoint/2010/main" val="24173795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Microsoft Cloud OS </a:t>
            </a: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043774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NASA Notebook : https://notebooks.azure.com/deepak-notebook/projects/predmaint/html/Predictive%20maintenance%20NASA%20sample.ipynb</a:t>
            </a:r>
          </a:p>
          <a:p>
            <a:r>
              <a:rPr lang="en-US" dirty="0"/>
              <a:t> </a:t>
            </a:r>
          </a:p>
        </p:txBody>
      </p:sp>
      <p:sp>
        <p:nvSpPr>
          <p:cNvPr id="4" name="Slide Number Placeholder 3"/>
          <p:cNvSpPr>
            <a:spLocks noGrp="1"/>
          </p:cNvSpPr>
          <p:nvPr>
            <p:ph type="sldNum" sz="quarter" idx="5"/>
          </p:nvPr>
        </p:nvSpPr>
        <p:spPr/>
        <p:txBody>
          <a:bodyPr/>
          <a:lstStyle/>
          <a:p>
            <a:fld id="{B05A8AB0-C555-45F4-8761-F7526B715936}" type="slidenum">
              <a:rPr lang="en-US" smtClean="0"/>
              <a:t>20</a:t>
            </a:fld>
            <a:endParaRPr lang="en-US"/>
          </a:p>
        </p:txBody>
      </p:sp>
    </p:spTree>
    <p:extLst>
      <p:ext uri="{BB962C8B-B14F-4D97-AF65-F5344CB8AC3E}">
        <p14:creationId xmlns:p14="http://schemas.microsoft.com/office/powerpoint/2010/main" val="21188844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Microsoft Cloud OS </a:t>
            </a: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42012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21855107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ustomer logs</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36E1C69-5CBA-4B00-A943-3764A7845A8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263711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0027EFA-29CC-A246-980C-45E8B3219095}" type="slidenum">
              <a:rPr lang="en-US" smtClean="0"/>
              <a:t>5</a:t>
            </a:fld>
            <a:endParaRPr lang="en-US"/>
          </a:p>
        </p:txBody>
      </p:sp>
    </p:spTree>
    <p:extLst>
      <p:ext uri="{BB962C8B-B14F-4D97-AF65-F5344CB8AC3E}">
        <p14:creationId xmlns:p14="http://schemas.microsoft.com/office/powerpoint/2010/main" val="21951285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endParaRPr lang="en-US" i="1"/>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Envision 2016</a:t>
            </a: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3/14/2019 9:14 A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0688303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endParaRPr lang="en-US" i="1"/>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Envision 2016</a:t>
            </a: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3/14/2019 9:14 A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0324409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endParaRPr lang="en-US" i="1"/>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Envision 2016</a:t>
            </a: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3/14/2019 9:14 A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9411215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endParaRPr lang="en-US" i="1"/>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Envision 2016</a:t>
            </a: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3/14/2019 9:14 A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3756662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endParaRPr lang="en-US" i="1"/>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Envision 2016</a:t>
            </a: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3/14/2019 9:14 A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9139439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5909B684-938A-40EB-B975-A8998AC53B1A}"/>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68480561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4.emf"/><Relationship Id="rId4" Type="http://schemas.openxmlformats.org/officeDocument/2006/relationships/oleObject" Target="../embeddings/oleObject1.bin"/></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01D582-D435-40B0-AAAC-C6E8B10344A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341F345-76CB-4290-81DF-C157FFCC1EE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FF86AE0-7589-4FED-B713-A1B2B2506282}"/>
              </a:ext>
            </a:extLst>
          </p:cNvPr>
          <p:cNvSpPr>
            <a:spLocks noGrp="1"/>
          </p:cNvSpPr>
          <p:nvPr>
            <p:ph type="dt" sz="half" idx="10"/>
          </p:nvPr>
        </p:nvSpPr>
        <p:spPr/>
        <p:txBody>
          <a:bodyPr/>
          <a:lstStyle/>
          <a:p>
            <a:fld id="{57CBC189-D998-4C47-8DDA-AA904C8A30B8}" type="datetimeFigureOut">
              <a:rPr lang="en-US" smtClean="0"/>
              <a:t>3/14/2019</a:t>
            </a:fld>
            <a:endParaRPr lang="en-US"/>
          </a:p>
        </p:txBody>
      </p:sp>
      <p:sp>
        <p:nvSpPr>
          <p:cNvPr id="5" name="Footer Placeholder 4">
            <a:extLst>
              <a:ext uri="{FF2B5EF4-FFF2-40B4-BE49-F238E27FC236}">
                <a16:creationId xmlns:a16="http://schemas.microsoft.com/office/drawing/2014/main" id="{FD9B6FBE-0247-4B3A-8DF7-AEEEBCE099C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6D027E3-88B7-456A-B7DC-E41A96CF7957}"/>
              </a:ext>
            </a:extLst>
          </p:cNvPr>
          <p:cNvSpPr>
            <a:spLocks noGrp="1"/>
          </p:cNvSpPr>
          <p:nvPr>
            <p:ph type="sldNum" sz="quarter" idx="12"/>
          </p:nvPr>
        </p:nvSpPr>
        <p:spPr/>
        <p:txBody>
          <a:bodyPr/>
          <a:lstStyle/>
          <a:p>
            <a:fld id="{3709107B-5CD9-45C5-865F-6828FE75E41C}" type="slidenum">
              <a:rPr lang="en-US" smtClean="0"/>
              <a:t>‹#›</a:t>
            </a:fld>
            <a:endParaRPr lang="en-US"/>
          </a:p>
        </p:txBody>
      </p:sp>
    </p:spTree>
    <p:extLst>
      <p:ext uri="{BB962C8B-B14F-4D97-AF65-F5344CB8AC3E}">
        <p14:creationId xmlns:p14="http://schemas.microsoft.com/office/powerpoint/2010/main" val="9731463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182B18-9B11-4857-B9A8-8E6C09F90AF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4360DCD0-614D-4C9F-8E6D-2B1003227BB3}"/>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6136717-4BB6-4678-BF94-CBBC7351B810}"/>
              </a:ext>
            </a:extLst>
          </p:cNvPr>
          <p:cNvSpPr>
            <a:spLocks noGrp="1"/>
          </p:cNvSpPr>
          <p:nvPr>
            <p:ph type="dt" sz="half" idx="10"/>
          </p:nvPr>
        </p:nvSpPr>
        <p:spPr/>
        <p:txBody>
          <a:bodyPr/>
          <a:lstStyle/>
          <a:p>
            <a:fld id="{57CBC189-D998-4C47-8DDA-AA904C8A30B8}" type="datetimeFigureOut">
              <a:rPr lang="en-US" smtClean="0"/>
              <a:t>3/14/2019</a:t>
            </a:fld>
            <a:endParaRPr lang="en-US"/>
          </a:p>
        </p:txBody>
      </p:sp>
      <p:sp>
        <p:nvSpPr>
          <p:cNvPr id="5" name="Footer Placeholder 4">
            <a:extLst>
              <a:ext uri="{FF2B5EF4-FFF2-40B4-BE49-F238E27FC236}">
                <a16:creationId xmlns:a16="http://schemas.microsoft.com/office/drawing/2014/main" id="{6D38A11D-1AB7-4223-8403-23FBE6B9020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660866E-7F6B-406E-99DF-15F11D2166A9}"/>
              </a:ext>
            </a:extLst>
          </p:cNvPr>
          <p:cNvSpPr>
            <a:spLocks noGrp="1"/>
          </p:cNvSpPr>
          <p:nvPr>
            <p:ph type="sldNum" sz="quarter" idx="12"/>
          </p:nvPr>
        </p:nvSpPr>
        <p:spPr/>
        <p:txBody>
          <a:bodyPr/>
          <a:lstStyle/>
          <a:p>
            <a:fld id="{3709107B-5CD9-45C5-865F-6828FE75E41C}" type="slidenum">
              <a:rPr lang="en-US" smtClean="0"/>
              <a:t>‹#›</a:t>
            </a:fld>
            <a:endParaRPr lang="en-US"/>
          </a:p>
        </p:txBody>
      </p:sp>
    </p:spTree>
    <p:extLst>
      <p:ext uri="{BB962C8B-B14F-4D97-AF65-F5344CB8AC3E}">
        <p14:creationId xmlns:p14="http://schemas.microsoft.com/office/powerpoint/2010/main" val="25355856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595EEF2-7C8C-4860-9A06-275453667E1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E41298D-0B46-47C0-A347-C392C0D918D3}"/>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EEE728E-A86D-4064-80B2-6D9336C8FA55}"/>
              </a:ext>
            </a:extLst>
          </p:cNvPr>
          <p:cNvSpPr>
            <a:spLocks noGrp="1"/>
          </p:cNvSpPr>
          <p:nvPr>
            <p:ph type="dt" sz="half" idx="10"/>
          </p:nvPr>
        </p:nvSpPr>
        <p:spPr/>
        <p:txBody>
          <a:bodyPr/>
          <a:lstStyle/>
          <a:p>
            <a:fld id="{57CBC189-D998-4C47-8DDA-AA904C8A30B8}" type="datetimeFigureOut">
              <a:rPr lang="en-US" smtClean="0"/>
              <a:t>3/14/2019</a:t>
            </a:fld>
            <a:endParaRPr lang="en-US"/>
          </a:p>
        </p:txBody>
      </p:sp>
      <p:sp>
        <p:nvSpPr>
          <p:cNvPr id="5" name="Footer Placeholder 4">
            <a:extLst>
              <a:ext uri="{FF2B5EF4-FFF2-40B4-BE49-F238E27FC236}">
                <a16:creationId xmlns:a16="http://schemas.microsoft.com/office/drawing/2014/main" id="{7335DBD3-8656-4161-AFF6-8C624DBE02F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062173B-00EC-4A4F-86DE-1FFEABF1E58D}"/>
              </a:ext>
            </a:extLst>
          </p:cNvPr>
          <p:cNvSpPr>
            <a:spLocks noGrp="1"/>
          </p:cNvSpPr>
          <p:nvPr>
            <p:ph type="sldNum" sz="quarter" idx="12"/>
          </p:nvPr>
        </p:nvSpPr>
        <p:spPr/>
        <p:txBody>
          <a:bodyPr/>
          <a:lstStyle/>
          <a:p>
            <a:fld id="{3709107B-5CD9-45C5-865F-6828FE75E41C}" type="slidenum">
              <a:rPr lang="en-US" smtClean="0"/>
              <a:t>‹#›</a:t>
            </a:fld>
            <a:endParaRPr lang="en-US"/>
          </a:p>
        </p:txBody>
      </p:sp>
    </p:spTree>
    <p:extLst>
      <p:ext uri="{BB962C8B-B14F-4D97-AF65-F5344CB8AC3E}">
        <p14:creationId xmlns:p14="http://schemas.microsoft.com/office/powerpoint/2010/main" val="394154125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slide - bottom anchor">
    <p:bg>
      <p:bgRef idx="1001">
        <a:schemeClr val="bg2"/>
      </p:bgRef>
    </p:bg>
    <p:spTree>
      <p:nvGrpSpPr>
        <p:cNvPr id="1" name=""/>
        <p:cNvGrpSpPr/>
        <p:nvPr/>
      </p:nvGrpSpPr>
      <p:grpSpPr>
        <a:xfrm>
          <a:off x="0" y="0"/>
          <a:ext cx="0" cy="0"/>
          <a:chOff x="0" y="0"/>
          <a:chExt cx="0" cy="0"/>
        </a:xfrm>
      </p:grpSpPr>
      <p:pic>
        <p:nvPicPr>
          <p:cNvPr id="12" name="Picture 11" descr="A person standing in front of a group of people looking at each other&#10;&#10;Description generated with high confidence">
            <a:extLst>
              <a:ext uri="{FF2B5EF4-FFF2-40B4-BE49-F238E27FC236}">
                <a16:creationId xmlns:a16="http://schemas.microsoft.com/office/drawing/2014/main" id="{393295D5-905E-4DA2-A37A-D0DF216B97F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Rectangle 10">
            <a:extLst>
              <a:ext uri="{FF2B5EF4-FFF2-40B4-BE49-F238E27FC236}">
                <a16:creationId xmlns:a16="http://schemas.microsoft.com/office/drawing/2014/main" id="{74A2A645-4367-456C-A018-4E9FD8C2CCA7}"/>
              </a:ext>
            </a:extLst>
          </p:cNvPr>
          <p:cNvSpPr/>
          <p:nvPr userDrawn="1"/>
        </p:nvSpPr>
        <p:spPr bwMode="auto">
          <a:xfrm>
            <a:off x="0" y="0"/>
            <a:ext cx="8050924" cy="6858000"/>
          </a:xfrm>
          <a:prstGeom prst="rect">
            <a:avLst/>
          </a:prstGeom>
          <a:gradFill>
            <a:gsLst>
              <a:gs pos="0">
                <a:srgbClr val="353535"/>
              </a:gs>
              <a:gs pos="100000">
                <a:srgbClr val="353535">
                  <a:alpha val="0"/>
                </a:srgbClr>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3"/>
          <a:stretch>
            <a:fillRect/>
          </a:stretch>
        </p:blipFill>
        <p:spPr bwMode="black">
          <a:xfrm>
            <a:off x="584201" y="6183284"/>
            <a:ext cx="1366245" cy="292608"/>
          </a:xfrm>
          <a:prstGeom prst="rect">
            <a:avLst/>
          </a:prstGeom>
        </p:spPr>
      </p:pic>
    </p:spTree>
    <p:extLst>
      <p:ext uri="{BB962C8B-B14F-4D97-AF65-F5344CB8AC3E}">
        <p14:creationId xmlns:p14="http://schemas.microsoft.com/office/powerpoint/2010/main" val="15513535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3" pos="5900">
          <p15:clr>
            <a:srgbClr val="FBAE40"/>
          </p15:clr>
        </p15:guide>
        <p15:guide id="4" orient="horz" pos="2098">
          <p15:clr>
            <a:srgbClr val="FBAE40"/>
          </p15:clr>
        </p15:guide>
        <p15:guide id="5" orient="horz" pos="2342">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91069"/>
            <a:ext cx="4795873" cy="1484704"/>
          </a:xfrm>
        </p:spPr>
        <p:txBody>
          <a:bodyPr wrap="square" anchor="t">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7" name="Picture Placeholder 4"/>
          <p:cNvSpPr>
            <a:spLocks noGrp="1" noChangeAspect="1"/>
          </p:cNvSpPr>
          <p:nvPr>
            <p:ph type="pic" sz="quarter" idx="10"/>
          </p:nvPr>
        </p:nvSpPr>
        <p:spPr bwMode="ltGray">
          <a:xfrm>
            <a:off x="6096000" y="0"/>
            <a:ext cx="6096000" cy="68561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56098726"/>
      </p:ext>
    </p:extLst>
  </p:cSld>
  <p:clrMapOvr>
    <a:masterClrMapping/>
  </p:clrMapOvr>
  <p:transition>
    <p:fade/>
  </p:transition>
  <p:extLst mod="1">
    <p:ext uri="{DCECCB84-F9BA-43D5-87BE-67443E8EF086}">
      <p15:sldGuideLst xmlns:p15="http://schemas.microsoft.com/office/powerpoint/2012/main">
        <p15:guide id="1" pos="3360">
          <p15:clr>
            <a:srgbClr val="FBAE40"/>
          </p15:clr>
        </p15:guide>
        <p15:guide id="2"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52000540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Closing logo slide 2">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1632" y="3302732"/>
            <a:ext cx="1423303" cy="304828"/>
          </a:xfrm>
          <a:prstGeom prst="rect">
            <a:avLst/>
          </a:prstGeom>
        </p:spPr>
      </p:pic>
    </p:spTree>
    <p:extLst>
      <p:ext uri="{BB962C8B-B14F-4D97-AF65-F5344CB8AC3E}">
        <p14:creationId xmlns:p14="http://schemas.microsoft.com/office/powerpoint/2010/main" val="35927903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centered with su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3" name="Text Placeholder 6">
            <a:extLst>
              <a:ext uri="{FF2B5EF4-FFF2-40B4-BE49-F238E27FC236}">
                <a16:creationId xmlns:a16="http://schemas.microsoft.com/office/drawing/2014/main" id="{98D95393-1804-4E83-8FA6-617CF52B7C1D}"/>
              </a:ext>
            </a:extLst>
          </p:cNvPr>
          <p:cNvSpPr>
            <a:spLocks noGrp="1"/>
          </p:cNvSpPr>
          <p:nvPr>
            <p:ph type="body" sz="quarter" idx="11"/>
          </p:nvPr>
        </p:nvSpPr>
        <p:spPr>
          <a:xfrm>
            <a:off x="584200" y="1025947"/>
            <a:ext cx="11025188" cy="276999"/>
          </a:xfrm>
        </p:spPr>
        <p:txBody>
          <a:bodyPr/>
          <a:lstStyle>
            <a:lvl1pPr algn="ctr">
              <a:defRPr sz="1800">
                <a:solidFill>
                  <a:schemeClr val="accent1"/>
                </a:solidFill>
                <a:latin typeface="+mn-lt"/>
              </a:defRPr>
            </a:lvl1pPr>
          </a:lstStyle>
          <a:p>
            <a:pPr lvl="0"/>
            <a:r>
              <a:rPr lang="en-US"/>
              <a:t>Edit Master text styles</a:t>
            </a:r>
          </a:p>
        </p:txBody>
      </p:sp>
    </p:spTree>
    <p:extLst>
      <p:ext uri="{BB962C8B-B14F-4D97-AF65-F5344CB8AC3E}">
        <p14:creationId xmlns:p14="http://schemas.microsoft.com/office/powerpoint/2010/main" val="2712081569"/>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6B5444C5-7014-467D-BB34-E2400B443BCE}" type="datetimeFigureOut">
              <a:rPr lang="en-US" smtClean="0"/>
              <a:t>3/14/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3BA94C7-5C90-4871-9206-7541123BB42B}" type="slidenum">
              <a:rPr lang="en-US" smtClean="0"/>
              <a:t>‹#›</a:t>
            </a:fld>
            <a:endParaRPr lang="en-US"/>
          </a:p>
        </p:txBody>
      </p:sp>
    </p:spTree>
    <p:extLst>
      <p:ext uri="{BB962C8B-B14F-4D97-AF65-F5344CB8AC3E}">
        <p14:creationId xmlns:p14="http://schemas.microsoft.com/office/powerpoint/2010/main" val="45647481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B5444C5-7014-467D-BB34-E2400B443BCE}" type="datetimeFigureOut">
              <a:rPr lang="en-US" smtClean="0"/>
              <a:t>3/14/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3BA94C7-5C90-4871-9206-7541123BB42B}" type="slidenum">
              <a:rPr lang="en-US" smtClean="0"/>
              <a:t>‹#›</a:t>
            </a:fld>
            <a:endParaRPr lang="en-US"/>
          </a:p>
        </p:txBody>
      </p:sp>
    </p:spTree>
    <p:extLst>
      <p:ext uri="{BB962C8B-B14F-4D97-AF65-F5344CB8AC3E}">
        <p14:creationId xmlns:p14="http://schemas.microsoft.com/office/powerpoint/2010/main" val="113113073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6B5444C5-7014-467D-BB34-E2400B443BCE}" type="datetimeFigureOut">
              <a:rPr lang="en-US" smtClean="0"/>
              <a:t>3/14/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3BA94C7-5C90-4871-9206-7541123BB42B}" type="slidenum">
              <a:rPr lang="en-US" smtClean="0"/>
              <a:t>‹#›</a:t>
            </a:fld>
            <a:endParaRPr lang="en-US"/>
          </a:p>
        </p:txBody>
      </p:sp>
    </p:spTree>
    <p:extLst>
      <p:ext uri="{BB962C8B-B14F-4D97-AF65-F5344CB8AC3E}">
        <p14:creationId xmlns:p14="http://schemas.microsoft.com/office/powerpoint/2010/main" val="27887701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AD3006-3666-4EB5-8897-9D748B504AF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BB769D1-4B51-483B-AEAA-1B6996F2198D}"/>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E1A1EF8-DA79-471B-8DDC-E23569FC5CDA}"/>
              </a:ext>
            </a:extLst>
          </p:cNvPr>
          <p:cNvSpPr>
            <a:spLocks noGrp="1"/>
          </p:cNvSpPr>
          <p:nvPr>
            <p:ph type="dt" sz="half" idx="10"/>
          </p:nvPr>
        </p:nvSpPr>
        <p:spPr/>
        <p:txBody>
          <a:bodyPr/>
          <a:lstStyle/>
          <a:p>
            <a:fld id="{57CBC189-D998-4C47-8DDA-AA904C8A30B8}" type="datetimeFigureOut">
              <a:rPr lang="en-US" smtClean="0"/>
              <a:t>3/14/2019</a:t>
            </a:fld>
            <a:endParaRPr lang="en-US"/>
          </a:p>
        </p:txBody>
      </p:sp>
      <p:sp>
        <p:nvSpPr>
          <p:cNvPr id="5" name="Footer Placeholder 4">
            <a:extLst>
              <a:ext uri="{FF2B5EF4-FFF2-40B4-BE49-F238E27FC236}">
                <a16:creationId xmlns:a16="http://schemas.microsoft.com/office/drawing/2014/main" id="{F807D3E6-B754-4A58-AE81-A450F2399A4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085C52D-86A2-4F63-807E-1079AC9FBE56}"/>
              </a:ext>
            </a:extLst>
          </p:cNvPr>
          <p:cNvSpPr>
            <a:spLocks noGrp="1"/>
          </p:cNvSpPr>
          <p:nvPr>
            <p:ph type="sldNum" sz="quarter" idx="12"/>
          </p:nvPr>
        </p:nvSpPr>
        <p:spPr/>
        <p:txBody>
          <a:bodyPr/>
          <a:lstStyle/>
          <a:p>
            <a:fld id="{3709107B-5CD9-45C5-865F-6828FE75E41C}" type="slidenum">
              <a:rPr lang="en-US" smtClean="0"/>
              <a:t>‹#›</a:t>
            </a:fld>
            <a:endParaRPr lang="en-US"/>
          </a:p>
        </p:txBody>
      </p:sp>
    </p:spTree>
    <p:extLst>
      <p:ext uri="{BB962C8B-B14F-4D97-AF65-F5344CB8AC3E}">
        <p14:creationId xmlns:p14="http://schemas.microsoft.com/office/powerpoint/2010/main" val="176478657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6B5444C5-7014-467D-BB34-E2400B443BCE}" type="datetimeFigureOut">
              <a:rPr lang="en-US" smtClean="0"/>
              <a:t>3/14/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3BA94C7-5C90-4871-9206-7541123BB42B}" type="slidenum">
              <a:rPr lang="en-US" smtClean="0"/>
              <a:t>‹#›</a:t>
            </a:fld>
            <a:endParaRPr lang="en-US"/>
          </a:p>
        </p:txBody>
      </p:sp>
    </p:spTree>
    <p:extLst>
      <p:ext uri="{BB962C8B-B14F-4D97-AF65-F5344CB8AC3E}">
        <p14:creationId xmlns:p14="http://schemas.microsoft.com/office/powerpoint/2010/main" val="64589457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6B5444C5-7014-467D-BB34-E2400B443BCE}" type="datetimeFigureOut">
              <a:rPr lang="en-US" smtClean="0"/>
              <a:t>3/14/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E3BA94C7-5C90-4871-9206-7541123BB42B}" type="slidenum">
              <a:rPr lang="en-US" smtClean="0"/>
              <a:t>‹#›</a:t>
            </a:fld>
            <a:endParaRPr lang="en-US"/>
          </a:p>
        </p:txBody>
      </p:sp>
    </p:spTree>
    <p:extLst>
      <p:ext uri="{BB962C8B-B14F-4D97-AF65-F5344CB8AC3E}">
        <p14:creationId xmlns:p14="http://schemas.microsoft.com/office/powerpoint/2010/main" val="187647149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6B5444C5-7014-467D-BB34-E2400B443BCE}" type="datetimeFigureOut">
              <a:rPr lang="en-US" smtClean="0"/>
              <a:t>3/14/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E3BA94C7-5C90-4871-9206-7541123BB42B}" type="slidenum">
              <a:rPr lang="en-US" smtClean="0"/>
              <a:t>‹#›</a:t>
            </a:fld>
            <a:endParaRPr lang="en-US"/>
          </a:p>
        </p:txBody>
      </p:sp>
    </p:spTree>
    <p:extLst>
      <p:ext uri="{BB962C8B-B14F-4D97-AF65-F5344CB8AC3E}">
        <p14:creationId xmlns:p14="http://schemas.microsoft.com/office/powerpoint/2010/main" val="346237800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B5444C5-7014-467D-BB34-E2400B443BCE}" type="datetimeFigureOut">
              <a:rPr lang="en-US" smtClean="0"/>
              <a:t>3/14/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E3BA94C7-5C90-4871-9206-7541123BB42B}" type="slidenum">
              <a:rPr lang="en-US" smtClean="0"/>
              <a:t>‹#›</a:t>
            </a:fld>
            <a:endParaRPr lang="en-US"/>
          </a:p>
        </p:txBody>
      </p:sp>
    </p:spTree>
    <p:extLst>
      <p:ext uri="{BB962C8B-B14F-4D97-AF65-F5344CB8AC3E}">
        <p14:creationId xmlns:p14="http://schemas.microsoft.com/office/powerpoint/2010/main" val="375403730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6B5444C5-7014-467D-BB34-E2400B443BCE}" type="datetimeFigureOut">
              <a:rPr lang="en-US" smtClean="0"/>
              <a:t>3/14/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3BA94C7-5C90-4871-9206-7541123BB42B}" type="slidenum">
              <a:rPr lang="en-US" smtClean="0"/>
              <a:t>‹#›</a:t>
            </a:fld>
            <a:endParaRPr lang="en-US"/>
          </a:p>
        </p:txBody>
      </p:sp>
    </p:spTree>
    <p:extLst>
      <p:ext uri="{BB962C8B-B14F-4D97-AF65-F5344CB8AC3E}">
        <p14:creationId xmlns:p14="http://schemas.microsoft.com/office/powerpoint/2010/main" val="249924838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6B5444C5-7014-467D-BB34-E2400B443BCE}" type="datetimeFigureOut">
              <a:rPr lang="en-US" smtClean="0"/>
              <a:t>3/14/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3BA94C7-5C90-4871-9206-7541123BB42B}" type="slidenum">
              <a:rPr lang="en-US" smtClean="0"/>
              <a:t>‹#›</a:t>
            </a:fld>
            <a:endParaRPr lang="en-US"/>
          </a:p>
        </p:txBody>
      </p:sp>
    </p:spTree>
    <p:extLst>
      <p:ext uri="{BB962C8B-B14F-4D97-AF65-F5344CB8AC3E}">
        <p14:creationId xmlns:p14="http://schemas.microsoft.com/office/powerpoint/2010/main" val="107245416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B5444C5-7014-467D-BB34-E2400B443BCE}" type="datetimeFigureOut">
              <a:rPr lang="en-US" smtClean="0"/>
              <a:t>3/14/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3BA94C7-5C90-4871-9206-7541123BB42B}" type="slidenum">
              <a:rPr lang="en-US" smtClean="0"/>
              <a:t>‹#›</a:t>
            </a:fld>
            <a:endParaRPr lang="en-US"/>
          </a:p>
        </p:txBody>
      </p:sp>
    </p:spTree>
    <p:extLst>
      <p:ext uri="{BB962C8B-B14F-4D97-AF65-F5344CB8AC3E}">
        <p14:creationId xmlns:p14="http://schemas.microsoft.com/office/powerpoint/2010/main" val="276458538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B5444C5-7014-467D-BB34-E2400B443BCE}" type="datetimeFigureOut">
              <a:rPr lang="en-US" smtClean="0"/>
              <a:t>3/14/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3BA94C7-5C90-4871-9206-7541123BB42B}" type="slidenum">
              <a:rPr lang="en-US" smtClean="0"/>
              <a:t>‹#›</a:t>
            </a:fld>
            <a:endParaRPr lang="en-US"/>
          </a:p>
        </p:txBody>
      </p:sp>
    </p:spTree>
    <p:extLst>
      <p:ext uri="{BB962C8B-B14F-4D97-AF65-F5344CB8AC3E}">
        <p14:creationId xmlns:p14="http://schemas.microsoft.com/office/powerpoint/2010/main" val="354345440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Icon Bullets">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EFA8C4C-FE50-44C1-8434-6C7BB898173F}"/>
              </a:ext>
            </a:extLst>
          </p:cNvPr>
          <p:cNvSpPr/>
          <p:nvPr userDrawn="1"/>
        </p:nvSpPr>
        <p:spPr>
          <a:xfrm>
            <a:off x="432000" y="0"/>
            <a:ext cx="5472000" cy="6858000"/>
          </a:xfrm>
          <a:prstGeom prst="rect">
            <a:avLst/>
          </a:prstGeom>
          <a:gradFill>
            <a:gsLst>
              <a:gs pos="0">
                <a:schemeClr val="tx1">
                  <a:lumMod val="75000"/>
                  <a:lumOff val="25000"/>
                </a:schemeClr>
              </a:gs>
              <a:gs pos="100000">
                <a:schemeClr val="tx1"/>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ZA"/>
          </a:p>
        </p:txBody>
      </p:sp>
      <p:sp>
        <p:nvSpPr>
          <p:cNvPr id="3" name="Content Placeholder 2">
            <a:extLst>
              <a:ext uri="{FF2B5EF4-FFF2-40B4-BE49-F238E27FC236}">
                <a16:creationId xmlns:a16="http://schemas.microsoft.com/office/drawing/2014/main" id="{BE06229A-0702-4CD6-B5F1-0DC746CC4F18}"/>
              </a:ext>
            </a:extLst>
          </p:cNvPr>
          <p:cNvSpPr>
            <a:spLocks noGrp="1"/>
          </p:cNvSpPr>
          <p:nvPr>
            <p:ph idx="1" hasCustomPrompt="1"/>
          </p:nvPr>
        </p:nvSpPr>
        <p:spPr>
          <a:xfrm>
            <a:off x="680728" y="5657850"/>
            <a:ext cx="4974545" cy="707513"/>
          </a:xfrm>
        </p:spPr>
        <p:txBody>
          <a:bodyPr/>
          <a:lstStyle>
            <a:lvl1pPr marL="0" indent="0">
              <a:buNone/>
              <a:defRPr sz="1800">
                <a:solidFill>
                  <a:schemeClr val="bg1"/>
                </a:solidFill>
              </a:defRPr>
            </a:lvl1pPr>
          </a:lstStyle>
          <a:p>
            <a:pPr lvl="0"/>
            <a:r>
              <a:rPr lang="en-US"/>
              <a:t>Subtitle, tagline or blurb can go here</a:t>
            </a:r>
            <a:endParaRPr lang="en-ZA"/>
          </a:p>
        </p:txBody>
      </p:sp>
      <p:sp>
        <p:nvSpPr>
          <p:cNvPr id="7" name="Footer Placeholder 6">
            <a:extLst>
              <a:ext uri="{FF2B5EF4-FFF2-40B4-BE49-F238E27FC236}">
                <a16:creationId xmlns:a16="http://schemas.microsoft.com/office/drawing/2014/main" id="{D2E533DB-3399-4A25-BB80-899E9CC78DB1}"/>
              </a:ext>
            </a:extLst>
          </p:cNvPr>
          <p:cNvSpPr>
            <a:spLocks noGrp="1"/>
          </p:cNvSpPr>
          <p:nvPr>
            <p:ph type="ftr" sz="quarter" idx="10"/>
          </p:nvPr>
        </p:nvSpPr>
        <p:spPr>
          <a:xfrm>
            <a:off x="432000" y="6365363"/>
            <a:ext cx="5472000" cy="412431"/>
          </a:xfrm>
        </p:spPr>
        <p:txBody>
          <a:bodyPr/>
          <a:lstStyle/>
          <a:p>
            <a:r>
              <a:rPr lang="en-ZA"/>
              <a:t>Add a footer</a:t>
            </a:r>
          </a:p>
        </p:txBody>
      </p:sp>
      <p:sp>
        <p:nvSpPr>
          <p:cNvPr id="8" name="Slide Number Placeholder 7">
            <a:extLst>
              <a:ext uri="{FF2B5EF4-FFF2-40B4-BE49-F238E27FC236}">
                <a16:creationId xmlns:a16="http://schemas.microsoft.com/office/drawing/2014/main" id="{19A57786-309B-4137-8B30-4011FC0D4FCB}"/>
              </a:ext>
            </a:extLst>
          </p:cNvPr>
          <p:cNvSpPr>
            <a:spLocks noGrp="1"/>
          </p:cNvSpPr>
          <p:nvPr>
            <p:ph type="sldNum" sz="quarter" idx="11"/>
          </p:nvPr>
        </p:nvSpPr>
        <p:spPr/>
        <p:txBody>
          <a:bodyPr/>
          <a:lstStyle/>
          <a:p>
            <a:fld id="{4B73C415-D670-4716-A5EC-CC4D52CA2BAC}" type="slidenum">
              <a:rPr lang="en-ZA" smtClean="0"/>
              <a:pPr/>
              <a:t>‹#›</a:t>
            </a:fld>
            <a:endParaRPr lang="en-ZA"/>
          </a:p>
        </p:txBody>
      </p:sp>
      <p:sp>
        <p:nvSpPr>
          <p:cNvPr id="10" name="Picture Placeholder 4">
            <a:extLst>
              <a:ext uri="{FF2B5EF4-FFF2-40B4-BE49-F238E27FC236}">
                <a16:creationId xmlns:a16="http://schemas.microsoft.com/office/drawing/2014/main" id="{704BE0A1-F26A-4947-971D-055860FFC91D}"/>
              </a:ext>
            </a:extLst>
          </p:cNvPr>
          <p:cNvSpPr>
            <a:spLocks noGrp="1"/>
          </p:cNvSpPr>
          <p:nvPr>
            <p:ph type="pic" sz="quarter" idx="12" hasCustomPrompt="1"/>
          </p:nvPr>
        </p:nvSpPr>
        <p:spPr>
          <a:xfrm>
            <a:off x="432000" y="0"/>
            <a:ext cx="5472000" cy="3714747"/>
          </a:xfr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lvl1pPr marL="0" indent="0" algn="l">
              <a:buFont typeface="Arial" panose="020B0604020202020204" pitchFamily="34" charset="0"/>
              <a:buNone/>
              <a:defRPr lang="en-ZA" sz="1100" i="1">
                <a:solidFill>
                  <a:schemeClr val="lt1"/>
                </a:solidFill>
                <a:latin typeface="Times New Roman" panose="02020603050405020304" pitchFamily="18" charset="0"/>
                <a:cs typeface="Times New Roman" panose="02020603050405020304" pitchFamily="18" charset="0"/>
              </a:defRPr>
            </a:lvl1pPr>
          </a:lstStyle>
          <a:p>
            <a:pPr marL="0" lvl="0" algn="ctr"/>
            <a:r>
              <a:rPr lang="en-ZA"/>
              <a:t>Insert or Drag &amp; Drop your photo here</a:t>
            </a:r>
          </a:p>
        </p:txBody>
      </p:sp>
      <p:sp>
        <p:nvSpPr>
          <p:cNvPr id="2" name="Title 1">
            <a:extLst>
              <a:ext uri="{FF2B5EF4-FFF2-40B4-BE49-F238E27FC236}">
                <a16:creationId xmlns:a16="http://schemas.microsoft.com/office/drawing/2014/main" id="{E8A85E10-5A18-4C86-8310-FA9CF8DF8AB5}"/>
              </a:ext>
            </a:extLst>
          </p:cNvPr>
          <p:cNvSpPr>
            <a:spLocks noGrp="1"/>
          </p:cNvSpPr>
          <p:nvPr>
            <p:ph type="title"/>
          </p:nvPr>
        </p:nvSpPr>
        <p:spPr>
          <a:xfrm>
            <a:off x="680728" y="3981450"/>
            <a:ext cx="4974545" cy="1343025"/>
          </a:xfrm>
        </p:spPr>
        <p:txBody>
          <a:bodyPr vert="horz" lIns="0" tIns="0" rIns="0" bIns="0" rtlCol="0" anchor="b">
            <a:noAutofit/>
          </a:bodyPr>
          <a:lstStyle>
            <a:lvl1pPr>
              <a:defRPr lang="en-ZA" sz="3600" dirty="0">
                <a:solidFill>
                  <a:schemeClr val="bg1"/>
                </a:solidFill>
              </a:defRPr>
            </a:lvl1pPr>
          </a:lstStyle>
          <a:p>
            <a:pPr lvl="0"/>
            <a:r>
              <a:rPr lang="en-US"/>
              <a:t>Click to edit Master title style</a:t>
            </a:r>
            <a:endParaRPr lang="en-ZA"/>
          </a:p>
        </p:txBody>
      </p:sp>
      <p:sp>
        <p:nvSpPr>
          <p:cNvPr id="13" name="Text Placeholder 8">
            <a:extLst>
              <a:ext uri="{FF2B5EF4-FFF2-40B4-BE49-F238E27FC236}">
                <a16:creationId xmlns:a16="http://schemas.microsoft.com/office/drawing/2014/main" id="{B51A342D-6638-406F-A54B-59B56F36AD4A}"/>
              </a:ext>
            </a:extLst>
          </p:cNvPr>
          <p:cNvSpPr>
            <a:spLocks noGrp="1"/>
          </p:cNvSpPr>
          <p:nvPr>
            <p:ph type="body" sz="quarter" idx="13" hasCustomPrompt="1"/>
          </p:nvPr>
        </p:nvSpPr>
        <p:spPr>
          <a:xfrm>
            <a:off x="6288002" y="4130531"/>
            <a:ext cx="1800000" cy="360000"/>
          </a:xfrm>
        </p:spPr>
        <p:txBody>
          <a:bodyPr/>
          <a:lstStyle>
            <a:lvl1pPr marL="0" indent="0" algn="ctr">
              <a:buFont typeface="Arial" panose="020B0604020202020204" pitchFamily="34" charset="0"/>
              <a:buNone/>
              <a:defRPr sz="1800">
                <a:solidFill>
                  <a:schemeClr val="tx1">
                    <a:lumMod val="75000"/>
                    <a:lumOff val="25000"/>
                  </a:schemeClr>
                </a:solidFill>
              </a:defRPr>
            </a:lvl1pPr>
          </a:lstStyle>
          <a:p>
            <a:pPr lvl="0"/>
            <a:r>
              <a:rPr lang="en-US"/>
              <a:t>Bullet 1</a:t>
            </a:r>
            <a:endParaRPr lang="en-ZA"/>
          </a:p>
        </p:txBody>
      </p:sp>
      <p:sp>
        <p:nvSpPr>
          <p:cNvPr id="14" name="Text Placeholder 10">
            <a:extLst>
              <a:ext uri="{FF2B5EF4-FFF2-40B4-BE49-F238E27FC236}">
                <a16:creationId xmlns:a16="http://schemas.microsoft.com/office/drawing/2014/main" id="{C32169FB-F8BF-46FF-8BDE-E27C751C1C46}"/>
              </a:ext>
            </a:extLst>
          </p:cNvPr>
          <p:cNvSpPr>
            <a:spLocks noGrp="1"/>
          </p:cNvSpPr>
          <p:nvPr>
            <p:ph type="body" sz="quarter" idx="14" hasCustomPrompt="1"/>
          </p:nvPr>
        </p:nvSpPr>
        <p:spPr>
          <a:xfrm>
            <a:off x="6288002" y="4764931"/>
            <a:ext cx="1800000" cy="720000"/>
          </a:xfrm>
        </p:spPr>
        <p:txBody>
          <a:bodyPr/>
          <a:lstStyle>
            <a:lvl1pPr marL="0" indent="0" algn="ctr">
              <a:buNone/>
              <a:defRPr sz="1400">
                <a:solidFill>
                  <a:schemeClr val="tx1">
                    <a:lumMod val="75000"/>
                    <a:lumOff val="25000"/>
                  </a:schemeClr>
                </a:solidFill>
              </a:defRPr>
            </a:lvl1pPr>
          </a:lstStyle>
          <a:p>
            <a:pPr lvl="0"/>
            <a:r>
              <a:rPr lang="en-US"/>
              <a:t>Bullet Description</a:t>
            </a:r>
            <a:endParaRPr lang="en-ZA"/>
          </a:p>
        </p:txBody>
      </p:sp>
      <p:sp>
        <p:nvSpPr>
          <p:cNvPr id="15" name="Text Placeholder 8">
            <a:extLst>
              <a:ext uri="{FF2B5EF4-FFF2-40B4-BE49-F238E27FC236}">
                <a16:creationId xmlns:a16="http://schemas.microsoft.com/office/drawing/2014/main" id="{051BC42F-45BF-462B-A15F-54639A5DA461}"/>
              </a:ext>
            </a:extLst>
          </p:cNvPr>
          <p:cNvSpPr>
            <a:spLocks noGrp="1"/>
          </p:cNvSpPr>
          <p:nvPr>
            <p:ph type="body" sz="quarter" idx="15" hasCustomPrompt="1"/>
          </p:nvPr>
        </p:nvSpPr>
        <p:spPr>
          <a:xfrm>
            <a:off x="8202527" y="4130531"/>
            <a:ext cx="1800000" cy="360000"/>
          </a:xfrm>
        </p:spPr>
        <p:txBody>
          <a:bodyPr/>
          <a:lstStyle>
            <a:lvl1pPr marL="0" indent="0" algn="ctr">
              <a:buFont typeface="Arial" panose="020B0604020202020204" pitchFamily="34" charset="0"/>
              <a:buNone/>
              <a:defRPr sz="1800">
                <a:solidFill>
                  <a:schemeClr val="tx1">
                    <a:lumMod val="75000"/>
                    <a:lumOff val="25000"/>
                  </a:schemeClr>
                </a:solidFill>
              </a:defRPr>
            </a:lvl1pPr>
          </a:lstStyle>
          <a:p>
            <a:pPr lvl="0"/>
            <a:r>
              <a:rPr lang="en-US"/>
              <a:t>Bullet 2</a:t>
            </a:r>
            <a:endParaRPr lang="en-ZA"/>
          </a:p>
        </p:txBody>
      </p:sp>
      <p:sp>
        <p:nvSpPr>
          <p:cNvPr id="16" name="Text Placeholder 10">
            <a:extLst>
              <a:ext uri="{FF2B5EF4-FFF2-40B4-BE49-F238E27FC236}">
                <a16:creationId xmlns:a16="http://schemas.microsoft.com/office/drawing/2014/main" id="{08A990CD-AF1D-4FBE-B3FF-4BC5BE2BFD9F}"/>
              </a:ext>
            </a:extLst>
          </p:cNvPr>
          <p:cNvSpPr>
            <a:spLocks noGrp="1"/>
          </p:cNvSpPr>
          <p:nvPr>
            <p:ph type="body" sz="quarter" idx="16" hasCustomPrompt="1"/>
          </p:nvPr>
        </p:nvSpPr>
        <p:spPr>
          <a:xfrm>
            <a:off x="8202527" y="4764931"/>
            <a:ext cx="1800000" cy="720000"/>
          </a:xfrm>
        </p:spPr>
        <p:txBody>
          <a:bodyPr/>
          <a:lstStyle>
            <a:lvl1pPr marL="0" indent="0" algn="ctr">
              <a:buNone/>
              <a:defRPr sz="1400">
                <a:solidFill>
                  <a:schemeClr val="tx1">
                    <a:lumMod val="75000"/>
                    <a:lumOff val="25000"/>
                  </a:schemeClr>
                </a:solidFill>
              </a:defRPr>
            </a:lvl1pPr>
          </a:lstStyle>
          <a:p>
            <a:pPr lvl="0"/>
            <a:r>
              <a:rPr lang="en-US"/>
              <a:t>Bullet Description</a:t>
            </a:r>
            <a:endParaRPr lang="en-ZA"/>
          </a:p>
        </p:txBody>
      </p:sp>
      <p:sp>
        <p:nvSpPr>
          <p:cNvPr id="17" name="Text Placeholder 8">
            <a:extLst>
              <a:ext uri="{FF2B5EF4-FFF2-40B4-BE49-F238E27FC236}">
                <a16:creationId xmlns:a16="http://schemas.microsoft.com/office/drawing/2014/main" id="{C595063C-F901-4E60-A714-6454F42F0D95}"/>
              </a:ext>
            </a:extLst>
          </p:cNvPr>
          <p:cNvSpPr>
            <a:spLocks noGrp="1"/>
          </p:cNvSpPr>
          <p:nvPr>
            <p:ph type="body" sz="quarter" idx="17" hasCustomPrompt="1"/>
          </p:nvPr>
        </p:nvSpPr>
        <p:spPr>
          <a:xfrm>
            <a:off x="10117052" y="4130531"/>
            <a:ext cx="1800000" cy="360000"/>
          </a:xfrm>
        </p:spPr>
        <p:txBody>
          <a:bodyPr/>
          <a:lstStyle>
            <a:lvl1pPr marL="0" indent="0" algn="ctr">
              <a:buFont typeface="Arial" panose="020B0604020202020204" pitchFamily="34" charset="0"/>
              <a:buNone/>
              <a:defRPr sz="1800">
                <a:solidFill>
                  <a:schemeClr val="tx1">
                    <a:lumMod val="75000"/>
                    <a:lumOff val="25000"/>
                  </a:schemeClr>
                </a:solidFill>
              </a:defRPr>
            </a:lvl1pPr>
          </a:lstStyle>
          <a:p>
            <a:pPr lvl="0"/>
            <a:r>
              <a:rPr lang="en-US"/>
              <a:t>Bullet 3</a:t>
            </a:r>
            <a:endParaRPr lang="en-ZA"/>
          </a:p>
        </p:txBody>
      </p:sp>
      <p:sp>
        <p:nvSpPr>
          <p:cNvPr id="18" name="Text Placeholder 10">
            <a:extLst>
              <a:ext uri="{FF2B5EF4-FFF2-40B4-BE49-F238E27FC236}">
                <a16:creationId xmlns:a16="http://schemas.microsoft.com/office/drawing/2014/main" id="{C7672B0A-0079-40F6-8B93-A5F1DB5882E0}"/>
              </a:ext>
            </a:extLst>
          </p:cNvPr>
          <p:cNvSpPr>
            <a:spLocks noGrp="1"/>
          </p:cNvSpPr>
          <p:nvPr>
            <p:ph type="body" sz="quarter" idx="18" hasCustomPrompt="1"/>
          </p:nvPr>
        </p:nvSpPr>
        <p:spPr>
          <a:xfrm>
            <a:off x="10117052" y="4764931"/>
            <a:ext cx="1800000" cy="720000"/>
          </a:xfrm>
        </p:spPr>
        <p:txBody>
          <a:bodyPr/>
          <a:lstStyle>
            <a:lvl1pPr marL="0" indent="0" algn="ctr">
              <a:buNone/>
              <a:defRPr sz="1400">
                <a:solidFill>
                  <a:schemeClr val="tx1">
                    <a:lumMod val="75000"/>
                    <a:lumOff val="25000"/>
                  </a:schemeClr>
                </a:solidFill>
              </a:defRPr>
            </a:lvl1pPr>
          </a:lstStyle>
          <a:p>
            <a:pPr lvl="0"/>
            <a:r>
              <a:rPr lang="en-US"/>
              <a:t>Bullet Description</a:t>
            </a:r>
            <a:endParaRPr lang="en-ZA"/>
          </a:p>
        </p:txBody>
      </p:sp>
    </p:spTree>
    <p:extLst>
      <p:ext uri="{BB962C8B-B14F-4D97-AF65-F5344CB8AC3E}">
        <p14:creationId xmlns:p14="http://schemas.microsoft.com/office/powerpoint/2010/main" val="1903823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p>
        </p:txBody>
      </p:sp>
      <p:sp>
        <p:nvSpPr>
          <p:cNvPr id="4" name="Content Placeholder 3"/>
          <p:cNvSpPr>
            <a:spLocks noGrp="1"/>
          </p:cNvSpPr>
          <p:nvPr>
            <p:ph sz="quarter" idx="10"/>
          </p:nvPr>
        </p:nvSpPr>
        <p:spPr>
          <a:xfrm>
            <a:off x="269239" y="1663914"/>
            <a:ext cx="8964248" cy="669927"/>
          </a:xfrm>
        </p:spPr>
        <p:txBody>
          <a:bodyPr/>
          <a:lstStyle>
            <a:lvl1pPr marL="0" indent="0">
              <a:buNone/>
              <a:defRPr sz="3529"/>
            </a:lvl1pPr>
            <a:lvl2pPr>
              <a:defRPr sz="3529"/>
            </a:lvl2pPr>
            <a:lvl3pPr>
              <a:defRPr sz="3529"/>
            </a:lvl3pPr>
            <a:lvl4pPr>
              <a:defRPr sz="3529"/>
            </a:lvl4pPr>
            <a:lvl5pPr>
              <a:defRPr sz="3529"/>
            </a:lvl5pPr>
          </a:lstStyle>
          <a:p>
            <a:pPr lvl="0"/>
            <a:r>
              <a:rPr lang="en-US"/>
              <a:t>Click to edit Master text styles</a:t>
            </a:r>
          </a:p>
        </p:txBody>
      </p:sp>
    </p:spTree>
    <p:extLst>
      <p:ext uri="{BB962C8B-B14F-4D97-AF65-F5344CB8AC3E}">
        <p14:creationId xmlns:p14="http://schemas.microsoft.com/office/powerpoint/2010/main" val="67407624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8C4068-D47C-4D2C-9936-7837137EFBB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DA6C7086-29B1-4869-919C-A0CD6BF4E25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4A68CF5E-FD86-4660-8EF9-E0C35340B9DB}"/>
              </a:ext>
            </a:extLst>
          </p:cNvPr>
          <p:cNvSpPr>
            <a:spLocks noGrp="1"/>
          </p:cNvSpPr>
          <p:nvPr>
            <p:ph type="dt" sz="half" idx="10"/>
          </p:nvPr>
        </p:nvSpPr>
        <p:spPr/>
        <p:txBody>
          <a:bodyPr/>
          <a:lstStyle/>
          <a:p>
            <a:fld id="{57CBC189-D998-4C47-8DDA-AA904C8A30B8}" type="datetimeFigureOut">
              <a:rPr lang="en-US" smtClean="0"/>
              <a:t>3/14/2019</a:t>
            </a:fld>
            <a:endParaRPr lang="en-US"/>
          </a:p>
        </p:txBody>
      </p:sp>
      <p:sp>
        <p:nvSpPr>
          <p:cNvPr id="5" name="Footer Placeholder 4">
            <a:extLst>
              <a:ext uri="{FF2B5EF4-FFF2-40B4-BE49-F238E27FC236}">
                <a16:creationId xmlns:a16="http://schemas.microsoft.com/office/drawing/2014/main" id="{400EF270-BC22-41A3-BC04-EFD04F449F7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70B6A4D-7B3F-44F4-BCA4-15B171E6EAD3}"/>
              </a:ext>
            </a:extLst>
          </p:cNvPr>
          <p:cNvSpPr>
            <a:spLocks noGrp="1"/>
          </p:cNvSpPr>
          <p:nvPr>
            <p:ph type="sldNum" sz="quarter" idx="12"/>
          </p:nvPr>
        </p:nvSpPr>
        <p:spPr/>
        <p:txBody>
          <a:bodyPr/>
          <a:lstStyle/>
          <a:p>
            <a:fld id="{3709107B-5CD9-45C5-865F-6828FE75E41C}" type="slidenum">
              <a:rPr lang="en-US" smtClean="0"/>
              <a:t>‹#›</a:t>
            </a:fld>
            <a:endParaRPr lang="en-US"/>
          </a:p>
        </p:txBody>
      </p:sp>
    </p:spTree>
    <p:extLst>
      <p:ext uri="{BB962C8B-B14F-4D97-AF65-F5344CB8AC3E}">
        <p14:creationId xmlns:p14="http://schemas.microsoft.com/office/powerpoint/2010/main" val="267718185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22"/>
        <p:cNvGrpSpPr/>
        <p:nvPr/>
      </p:nvGrpSpPr>
      <p:grpSpPr>
        <a:xfrm>
          <a:off x="0" y="0"/>
          <a:ext cx="0" cy="0"/>
          <a:chOff x="0" y="0"/>
          <a:chExt cx="0" cy="0"/>
        </a:xfrm>
      </p:grpSpPr>
      <p:sp>
        <p:nvSpPr>
          <p:cNvPr id="23" name="Google Shape;23;p3"/>
          <p:cNvSpPr txBox="1">
            <a:spLocks noGrp="1"/>
          </p:cNvSpPr>
          <p:nvPr>
            <p:ph type="title"/>
          </p:nvPr>
        </p:nvSpPr>
        <p:spPr>
          <a:xfrm>
            <a:off x="639514" y="365125"/>
            <a:ext cx="10918501" cy="1325563"/>
          </a:xfrm>
          <a:prstGeom prst="rect">
            <a:avLst/>
          </a:prstGeom>
          <a:noFill/>
          <a:ln>
            <a:noFill/>
          </a:ln>
        </p:spPr>
        <p:txBody>
          <a:bodyPr spcFirstLastPara="1" wrap="square" lIns="91425" tIns="45700" rIns="91425" bIns="45700" anchor="t" anchorCtr="0"/>
          <a:lstStyle>
            <a:lvl1pPr lvl="0" algn="l">
              <a:lnSpc>
                <a:spcPct val="9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 name="Google Shape;24;p3"/>
          <p:cNvSpPr txBox="1">
            <a:spLocks noGrp="1"/>
          </p:cNvSpPr>
          <p:nvPr>
            <p:ph type="body" idx="1"/>
          </p:nvPr>
        </p:nvSpPr>
        <p:spPr>
          <a:xfrm>
            <a:off x="639514" y="1825623"/>
            <a:ext cx="10912969" cy="3654081"/>
          </a:xfrm>
          <a:prstGeom prst="rect">
            <a:avLst/>
          </a:prstGeom>
          <a:noFill/>
          <a:ln>
            <a:noFill/>
          </a:ln>
        </p:spPr>
        <p:txBody>
          <a:bodyPr spcFirstLastPara="1" wrap="square" lIns="91425" tIns="45700" rIns="91425" bIns="45700" anchor="b" anchorCtr="0"/>
          <a:lstStyle>
            <a:lvl1pPr marL="457200" lvl="0" indent="-365760" algn="l">
              <a:lnSpc>
                <a:spcPct val="90000"/>
              </a:lnSpc>
              <a:spcBef>
                <a:spcPts val="1000"/>
              </a:spcBef>
              <a:spcAft>
                <a:spcPts val="0"/>
              </a:spcAft>
              <a:buSzPts val="216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 name="Date Placeholder 7"/>
          <p:cNvSpPr>
            <a:spLocks noGrp="1"/>
          </p:cNvSpPr>
          <p:nvPr>
            <p:ph type="dt" idx="10"/>
          </p:nvPr>
        </p:nvSpPr>
        <p:spPr/>
        <p:txBody>
          <a:bodyPr/>
          <a:lstStyle/>
          <a:p>
            <a:endParaRPr lang="en-US"/>
          </a:p>
        </p:txBody>
      </p:sp>
      <p:sp>
        <p:nvSpPr>
          <p:cNvPr id="9" name="Footer Placeholder 8"/>
          <p:cNvSpPr>
            <a:spLocks noGrp="1"/>
          </p:cNvSpPr>
          <p:nvPr>
            <p:ph type="ftr" idx="11"/>
          </p:nvPr>
        </p:nvSpPr>
        <p:spPr/>
        <p:txBody>
          <a:bodyPr/>
          <a:lstStyle/>
          <a:p>
            <a:r>
              <a:rPr lang="en-US" b="0"/>
              <a:t>Proprietary and Confidential</a:t>
            </a:r>
            <a:endParaRPr lang="en-US"/>
          </a:p>
        </p:txBody>
      </p:sp>
      <p:sp>
        <p:nvSpPr>
          <p:cNvPr id="10" name="Slide Number Placeholder 9"/>
          <p:cNvSpPr>
            <a:spLocks noGrp="1"/>
          </p:cNvSpPr>
          <p:nvPr>
            <p:ph type="sldNum" idx="12"/>
          </p:nvPr>
        </p:nvSpPr>
        <p:spPr/>
        <p:txBody>
          <a:bodyPr/>
          <a:lstStyle/>
          <a:p>
            <a:pPr marL="0" lvl="0" indent="0" algn="r" rtl="0">
              <a:spcBef>
                <a:spcPts val="0"/>
              </a:spcBef>
              <a:spcAft>
                <a:spcPts val="0"/>
              </a:spcAft>
              <a:buNone/>
            </a:pPr>
            <a:fld id="{00000000-1234-1234-1234-123412341234}" type="slidenum">
              <a:rPr lang="uk-UA" smtClean="0"/>
              <a:t>‹#›</a:t>
            </a:fld>
            <a:endParaRPr lang="uk-UA"/>
          </a:p>
        </p:txBody>
      </p:sp>
    </p:spTree>
    <p:extLst>
      <p:ext uri="{BB962C8B-B14F-4D97-AF65-F5344CB8AC3E}">
        <p14:creationId xmlns:p14="http://schemas.microsoft.com/office/powerpoint/2010/main" val="144650642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8_Custom Layout">
    <p:spTree>
      <p:nvGrpSpPr>
        <p:cNvPr id="1" name="Shape 27"/>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A321A86-9E56-4433-A734-61451A7A8322}"/>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4" imgW="378" imgH="377" progId="TCLayout.ActiveDocument.1">
                  <p:embed/>
                </p:oleObj>
              </mc:Choice>
              <mc:Fallback>
                <p:oleObj name="think-cell Slide" r:id="rId4" imgW="378" imgH="377" progId="TCLayout.ActiveDocument.1">
                  <p:embed/>
                  <p:pic>
                    <p:nvPicPr>
                      <p:cNvPr id="2" name="Object 1" hidden="1">
                        <a:extLst>
                          <a:ext uri="{FF2B5EF4-FFF2-40B4-BE49-F238E27FC236}">
                            <a16:creationId xmlns:a16="http://schemas.microsoft.com/office/drawing/2014/main" id="{AA321A86-9E56-4433-A734-61451A7A832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8" name="Shape 28"/>
          <p:cNvSpPr txBox="1">
            <a:spLocks noGrp="1"/>
          </p:cNvSpPr>
          <p:nvPr>
            <p:ph type="body" idx="1"/>
          </p:nvPr>
        </p:nvSpPr>
        <p:spPr>
          <a:xfrm>
            <a:off x="207200" y="181865"/>
            <a:ext cx="11775534" cy="584776"/>
          </a:xfrm>
          <a:prstGeom prst="rect">
            <a:avLst/>
          </a:prstGeom>
          <a:noFill/>
          <a:ln>
            <a:noFill/>
          </a:ln>
        </p:spPr>
        <p:txBody>
          <a:bodyPr wrap="square" lIns="91425" tIns="91425" rIns="91425" bIns="91425" anchor="t" anchorCtr="0"/>
          <a:lstStyle>
            <a:lvl1pPr marL="0" marR="0" lvl="0" indent="0" algn="l" rtl="0">
              <a:lnSpc>
                <a:spcPct val="90000"/>
              </a:lnSpc>
              <a:spcBef>
                <a:spcPts val="1000"/>
              </a:spcBef>
              <a:buClr>
                <a:srgbClr val="D8D8D8"/>
              </a:buClr>
              <a:buSzPts val="3200"/>
              <a:buFont typeface="Arial"/>
              <a:buNone/>
              <a:defRPr sz="2000" b="0" i="0" u="none" strike="noStrike" cap="none">
                <a:solidFill>
                  <a:srgbClr val="D8D8D8"/>
                </a:solidFill>
                <a:latin typeface="+mj-lt"/>
                <a:ea typeface="Helvetica Neue Light"/>
                <a:cs typeface="Helvetica Neue Light"/>
                <a:sym typeface="Helvetica Neue Light"/>
              </a:defRPr>
            </a:lvl1pPr>
            <a:lvl2pPr marL="685800" marR="0" lvl="1" indent="25400" algn="ctr" rtl="0">
              <a:lnSpc>
                <a:spcPct val="90000"/>
              </a:lnSpc>
              <a:spcBef>
                <a:spcPts val="500"/>
              </a:spcBef>
              <a:buClr>
                <a:srgbClr val="D8D8D8"/>
              </a:buClr>
              <a:buSzPts val="4000"/>
              <a:buFont typeface="Arial"/>
              <a:buChar char="•"/>
              <a:defRPr sz="4000" b="0" i="0" u="none" strike="noStrike" cap="none">
                <a:solidFill>
                  <a:srgbClr val="D8D8D8"/>
                </a:solidFill>
                <a:latin typeface="Helvetica Neue Light"/>
                <a:ea typeface="Helvetica Neue Light"/>
                <a:cs typeface="Helvetica Neue Light"/>
                <a:sym typeface="Helvetica Neue Light"/>
              </a:defRPr>
            </a:lvl2pPr>
            <a:lvl3pPr marL="1143000" marR="0" lvl="2" indent="25400" algn="ctr" rtl="0">
              <a:lnSpc>
                <a:spcPct val="90000"/>
              </a:lnSpc>
              <a:spcBef>
                <a:spcPts val="500"/>
              </a:spcBef>
              <a:buClr>
                <a:srgbClr val="D8D8D8"/>
              </a:buClr>
              <a:buSzPts val="4000"/>
              <a:buFont typeface="Arial"/>
              <a:buChar char="•"/>
              <a:defRPr sz="4000" b="0" i="0" u="none" strike="noStrike" cap="none">
                <a:solidFill>
                  <a:srgbClr val="D8D8D8"/>
                </a:solidFill>
                <a:latin typeface="Helvetica Neue Light"/>
                <a:ea typeface="Helvetica Neue Light"/>
                <a:cs typeface="Helvetica Neue Light"/>
                <a:sym typeface="Helvetica Neue Light"/>
              </a:defRPr>
            </a:lvl3pPr>
            <a:lvl4pPr marL="1600200" marR="0" lvl="3" indent="25400" algn="ctr" rtl="0">
              <a:lnSpc>
                <a:spcPct val="90000"/>
              </a:lnSpc>
              <a:spcBef>
                <a:spcPts val="500"/>
              </a:spcBef>
              <a:buClr>
                <a:srgbClr val="D8D8D8"/>
              </a:buClr>
              <a:buSzPts val="4000"/>
              <a:buFont typeface="Arial"/>
              <a:buChar char="•"/>
              <a:defRPr sz="4000" b="0" i="0" u="none" strike="noStrike" cap="none">
                <a:solidFill>
                  <a:srgbClr val="D8D8D8"/>
                </a:solidFill>
                <a:latin typeface="Helvetica Neue Light"/>
                <a:ea typeface="Helvetica Neue Light"/>
                <a:cs typeface="Helvetica Neue Light"/>
                <a:sym typeface="Helvetica Neue Light"/>
              </a:defRPr>
            </a:lvl4pPr>
            <a:lvl5pPr marL="2057400" marR="0" lvl="4" indent="25400" algn="ctr" rtl="0">
              <a:lnSpc>
                <a:spcPct val="90000"/>
              </a:lnSpc>
              <a:spcBef>
                <a:spcPts val="500"/>
              </a:spcBef>
              <a:buClr>
                <a:srgbClr val="D8D8D8"/>
              </a:buClr>
              <a:buSzPts val="4000"/>
              <a:buFont typeface="Arial"/>
              <a:buChar char="•"/>
              <a:defRPr sz="4000" b="0" i="0" u="none" strike="noStrike" cap="none">
                <a:solidFill>
                  <a:srgbClr val="D8D8D8"/>
                </a:solidFill>
                <a:latin typeface="Helvetica Neue Light"/>
                <a:ea typeface="Helvetica Neue Light"/>
                <a:cs typeface="Helvetica Neue Light"/>
                <a:sym typeface="Helvetica Neue Light"/>
              </a:defRPr>
            </a:lvl5pPr>
            <a:lvl6pPr marL="2514600" marR="0" lvl="5" indent="-114300" algn="l" rtl="0">
              <a:lnSpc>
                <a:spcPct val="90000"/>
              </a:lnSpc>
              <a:spcBef>
                <a:spcPts val="500"/>
              </a:spcBef>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2971800" marR="0" lvl="6" indent="-114300" algn="l" rtl="0">
              <a:lnSpc>
                <a:spcPct val="90000"/>
              </a:lnSpc>
              <a:spcBef>
                <a:spcPts val="500"/>
              </a:spcBef>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429000" marR="0" lvl="7" indent="-114300" algn="l" rtl="0">
              <a:lnSpc>
                <a:spcPct val="90000"/>
              </a:lnSpc>
              <a:spcBef>
                <a:spcPts val="500"/>
              </a:spcBef>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3886200" marR="0" lvl="8" indent="-114300" algn="l" rtl="0">
              <a:lnSpc>
                <a:spcPct val="90000"/>
              </a:lnSpc>
              <a:spcBef>
                <a:spcPts val="500"/>
              </a:spcBef>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292392399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5_Title Slide">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tx1">
              <a:alpha val="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2"/>
          <p:cNvSpPr>
            <a:spLocks noGrp="1"/>
          </p:cNvSpPr>
          <p:nvPr>
            <p:ph type="pic" sz="quarter" idx="10" hasCustomPrompt="1"/>
          </p:nvPr>
        </p:nvSpPr>
        <p:spPr>
          <a:xfrm>
            <a:off x="2428478" y="1394220"/>
            <a:ext cx="1191756" cy="1191756"/>
          </a:xfrm>
          <a:prstGeom prst="ellipse">
            <a:avLst/>
          </a:prstGeom>
          <a:pattFill prst="pct5">
            <a:fgClr>
              <a:schemeClr val="tx1"/>
            </a:fgClr>
            <a:bgClr>
              <a:schemeClr val="bg1">
                <a:lumMod val="85000"/>
              </a:schemeClr>
            </a:bgClr>
          </a:pattFill>
          <a:effectLst>
            <a:outerShdw blurRad="228600" dist="342900" dir="5400000" sx="89000" sy="89000" algn="t" rotWithShape="0">
              <a:prstClr val="black">
                <a:alpha val="14000"/>
              </a:prstClr>
            </a:outerShdw>
          </a:effectLst>
        </p:spPr>
        <p:txBody>
          <a:bodyPr anchor="ctr"/>
          <a:lstStyle>
            <a:lvl1pPr marL="0" indent="0" algn="ctr">
              <a:buNone/>
              <a:defRPr sz="1600" b="0" i="0">
                <a:latin typeface="Source Sans Pro" charset="0"/>
                <a:ea typeface="Source Sans Pro" charset="0"/>
                <a:cs typeface="Source Sans Pro" charset="0"/>
              </a:defRPr>
            </a:lvl1pPr>
          </a:lstStyle>
          <a:p>
            <a:r>
              <a:rPr lang="en-US"/>
              <a:t>Drag &amp; Drop Image</a:t>
            </a:r>
          </a:p>
        </p:txBody>
      </p:sp>
    </p:spTree>
    <p:extLst>
      <p:ext uri="{BB962C8B-B14F-4D97-AF65-F5344CB8AC3E}">
        <p14:creationId xmlns:p14="http://schemas.microsoft.com/office/powerpoint/2010/main" val="42457154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10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1F5900-C794-4DEF-9D87-6B70ABE77FB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601F73D-98B5-4B60-99E8-715778910E8B}"/>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422F5E1-BDD4-47DC-85A6-04E28E710974}"/>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D3267B0-9B77-435F-A49F-E86D875209A1}"/>
              </a:ext>
            </a:extLst>
          </p:cNvPr>
          <p:cNvSpPr>
            <a:spLocks noGrp="1"/>
          </p:cNvSpPr>
          <p:nvPr>
            <p:ph type="dt" sz="half" idx="10"/>
          </p:nvPr>
        </p:nvSpPr>
        <p:spPr/>
        <p:txBody>
          <a:bodyPr/>
          <a:lstStyle/>
          <a:p>
            <a:fld id="{57CBC189-D998-4C47-8DDA-AA904C8A30B8}" type="datetimeFigureOut">
              <a:rPr lang="en-US" smtClean="0"/>
              <a:t>3/14/2019</a:t>
            </a:fld>
            <a:endParaRPr lang="en-US"/>
          </a:p>
        </p:txBody>
      </p:sp>
      <p:sp>
        <p:nvSpPr>
          <p:cNvPr id="6" name="Footer Placeholder 5">
            <a:extLst>
              <a:ext uri="{FF2B5EF4-FFF2-40B4-BE49-F238E27FC236}">
                <a16:creationId xmlns:a16="http://schemas.microsoft.com/office/drawing/2014/main" id="{689EFD22-6B34-4D98-B486-8A6CA795DB4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FD0FBE2-4A44-4523-81DF-788C508220AD}"/>
              </a:ext>
            </a:extLst>
          </p:cNvPr>
          <p:cNvSpPr>
            <a:spLocks noGrp="1"/>
          </p:cNvSpPr>
          <p:nvPr>
            <p:ph type="sldNum" sz="quarter" idx="12"/>
          </p:nvPr>
        </p:nvSpPr>
        <p:spPr/>
        <p:txBody>
          <a:bodyPr/>
          <a:lstStyle/>
          <a:p>
            <a:fld id="{3709107B-5CD9-45C5-865F-6828FE75E41C}" type="slidenum">
              <a:rPr lang="en-US" smtClean="0"/>
              <a:t>‹#›</a:t>
            </a:fld>
            <a:endParaRPr lang="en-US"/>
          </a:p>
        </p:txBody>
      </p:sp>
    </p:spTree>
    <p:extLst>
      <p:ext uri="{BB962C8B-B14F-4D97-AF65-F5344CB8AC3E}">
        <p14:creationId xmlns:p14="http://schemas.microsoft.com/office/powerpoint/2010/main" val="17847615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ED8A29-6CD7-4943-9BDB-6305AF1B13E2}"/>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DCE5E34-31B7-4849-A4E5-79DA9912FBC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4516BBFC-20BC-42FB-9E9B-DF43BB1C9F34}"/>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96432C2-6AFB-43BA-AFA9-0BF16CB0490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31E38CE5-A6EF-4EEB-95F5-F23D3BE4ADD1}"/>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6B39824-E6D2-46D5-8A82-D9130D6E768C}"/>
              </a:ext>
            </a:extLst>
          </p:cNvPr>
          <p:cNvSpPr>
            <a:spLocks noGrp="1"/>
          </p:cNvSpPr>
          <p:nvPr>
            <p:ph type="dt" sz="half" idx="10"/>
          </p:nvPr>
        </p:nvSpPr>
        <p:spPr/>
        <p:txBody>
          <a:bodyPr/>
          <a:lstStyle/>
          <a:p>
            <a:fld id="{57CBC189-D998-4C47-8DDA-AA904C8A30B8}" type="datetimeFigureOut">
              <a:rPr lang="en-US" smtClean="0"/>
              <a:t>3/14/2019</a:t>
            </a:fld>
            <a:endParaRPr lang="en-US"/>
          </a:p>
        </p:txBody>
      </p:sp>
      <p:sp>
        <p:nvSpPr>
          <p:cNvPr id="8" name="Footer Placeholder 7">
            <a:extLst>
              <a:ext uri="{FF2B5EF4-FFF2-40B4-BE49-F238E27FC236}">
                <a16:creationId xmlns:a16="http://schemas.microsoft.com/office/drawing/2014/main" id="{1080B002-8C5D-4395-B9E8-C7810249A8F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7ECAE577-27B3-4E1F-9412-9A6EB120330F}"/>
              </a:ext>
            </a:extLst>
          </p:cNvPr>
          <p:cNvSpPr>
            <a:spLocks noGrp="1"/>
          </p:cNvSpPr>
          <p:nvPr>
            <p:ph type="sldNum" sz="quarter" idx="12"/>
          </p:nvPr>
        </p:nvSpPr>
        <p:spPr/>
        <p:txBody>
          <a:bodyPr/>
          <a:lstStyle/>
          <a:p>
            <a:fld id="{3709107B-5CD9-45C5-865F-6828FE75E41C}" type="slidenum">
              <a:rPr lang="en-US" smtClean="0"/>
              <a:t>‹#›</a:t>
            </a:fld>
            <a:endParaRPr lang="en-US"/>
          </a:p>
        </p:txBody>
      </p:sp>
    </p:spTree>
    <p:extLst>
      <p:ext uri="{BB962C8B-B14F-4D97-AF65-F5344CB8AC3E}">
        <p14:creationId xmlns:p14="http://schemas.microsoft.com/office/powerpoint/2010/main" val="20495810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C51EC5-3FF0-4681-B1FD-C713762B3BE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6DDD564-C0F4-4708-BF8F-4DEC59594C78}"/>
              </a:ext>
            </a:extLst>
          </p:cNvPr>
          <p:cNvSpPr>
            <a:spLocks noGrp="1"/>
          </p:cNvSpPr>
          <p:nvPr>
            <p:ph type="dt" sz="half" idx="10"/>
          </p:nvPr>
        </p:nvSpPr>
        <p:spPr/>
        <p:txBody>
          <a:bodyPr/>
          <a:lstStyle/>
          <a:p>
            <a:fld id="{57CBC189-D998-4C47-8DDA-AA904C8A30B8}" type="datetimeFigureOut">
              <a:rPr lang="en-US" smtClean="0"/>
              <a:t>3/14/2019</a:t>
            </a:fld>
            <a:endParaRPr lang="en-US"/>
          </a:p>
        </p:txBody>
      </p:sp>
      <p:sp>
        <p:nvSpPr>
          <p:cNvPr id="4" name="Footer Placeholder 3">
            <a:extLst>
              <a:ext uri="{FF2B5EF4-FFF2-40B4-BE49-F238E27FC236}">
                <a16:creationId xmlns:a16="http://schemas.microsoft.com/office/drawing/2014/main" id="{BAA5AF62-4779-433D-ACC5-AD120062996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0D3940C-D095-4D76-8283-60EE5B51C1A0}"/>
              </a:ext>
            </a:extLst>
          </p:cNvPr>
          <p:cNvSpPr>
            <a:spLocks noGrp="1"/>
          </p:cNvSpPr>
          <p:nvPr>
            <p:ph type="sldNum" sz="quarter" idx="12"/>
          </p:nvPr>
        </p:nvSpPr>
        <p:spPr/>
        <p:txBody>
          <a:bodyPr/>
          <a:lstStyle/>
          <a:p>
            <a:fld id="{3709107B-5CD9-45C5-865F-6828FE75E41C}" type="slidenum">
              <a:rPr lang="en-US" smtClean="0"/>
              <a:t>‹#›</a:t>
            </a:fld>
            <a:endParaRPr lang="en-US"/>
          </a:p>
        </p:txBody>
      </p:sp>
    </p:spTree>
    <p:extLst>
      <p:ext uri="{BB962C8B-B14F-4D97-AF65-F5344CB8AC3E}">
        <p14:creationId xmlns:p14="http://schemas.microsoft.com/office/powerpoint/2010/main" val="299311680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A143FA2-76CA-417C-8B5F-31392C7AFB38}"/>
              </a:ext>
            </a:extLst>
          </p:cNvPr>
          <p:cNvSpPr>
            <a:spLocks noGrp="1"/>
          </p:cNvSpPr>
          <p:nvPr>
            <p:ph type="dt" sz="half" idx="10"/>
          </p:nvPr>
        </p:nvSpPr>
        <p:spPr/>
        <p:txBody>
          <a:bodyPr/>
          <a:lstStyle/>
          <a:p>
            <a:fld id="{57CBC189-D998-4C47-8DDA-AA904C8A30B8}" type="datetimeFigureOut">
              <a:rPr lang="en-US" smtClean="0"/>
              <a:t>3/14/2019</a:t>
            </a:fld>
            <a:endParaRPr lang="en-US"/>
          </a:p>
        </p:txBody>
      </p:sp>
      <p:sp>
        <p:nvSpPr>
          <p:cNvPr id="3" name="Footer Placeholder 2">
            <a:extLst>
              <a:ext uri="{FF2B5EF4-FFF2-40B4-BE49-F238E27FC236}">
                <a16:creationId xmlns:a16="http://schemas.microsoft.com/office/drawing/2014/main" id="{5FBE0E26-4D03-4D64-9D08-740BB56DED8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CB52D0B-8E63-42DE-97D1-2E20672283A7}"/>
              </a:ext>
            </a:extLst>
          </p:cNvPr>
          <p:cNvSpPr>
            <a:spLocks noGrp="1"/>
          </p:cNvSpPr>
          <p:nvPr>
            <p:ph type="sldNum" sz="quarter" idx="12"/>
          </p:nvPr>
        </p:nvSpPr>
        <p:spPr/>
        <p:txBody>
          <a:bodyPr/>
          <a:lstStyle/>
          <a:p>
            <a:fld id="{3709107B-5CD9-45C5-865F-6828FE75E41C}" type="slidenum">
              <a:rPr lang="en-US" smtClean="0"/>
              <a:t>‹#›</a:t>
            </a:fld>
            <a:endParaRPr lang="en-US"/>
          </a:p>
        </p:txBody>
      </p:sp>
    </p:spTree>
    <p:extLst>
      <p:ext uri="{BB962C8B-B14F-4D97-AF65-F5344CB8AC3E}">
        <p14:creationId xmlns:p14="http://schemas.microsoft.com/office/powerpoint/2010/main" val="59736824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B1EAC1-34B5-466E-963C-6BBEDF551C8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E146E042-EAAE-47E4-B63E-DAF8313717D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5206058-8384-49E1-ADD5-33867585CA0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6E67012E-E1F9-49BF-8E0B-F43E53DB6B68}"/>
              </a:ext>
            </a:extLst>
          </p:cNvPr>
          <p:cNvSpPr>
            <a:spLocks noGrp="1"/>
          </p:cNvSpPr>
          <p:nvPr>
            <p:ph type="dt" sz="half" idx="10"/>
          </p:nvPr>
        </p:nvSpPr>
        <p:spPr/>
        <p:txBody>
          <a:bodyPr/>
          <a:lstStyle/>
          <a:p>
            <a:fld id="{57CBC189-D998-4C47-8DDA-AA904C8A30B8}" type="datetimeFigureOut">
              <a:rPr lang="en-US" smtClean="0"/>
              <a:t>3/14/2019</a:t>
            </a:fld>
            <a:endParaRPr lang="en-US"/>
          </a:p>
        </p:txBody>
      </p:sp>
      <p:sp>
        <p:nvSpPr>
          <p:cNvPr id="6" name="Footer Placeholder 5">
            <a:extLst>
              <a:ext uri="{FF2B5EF4-FFF2-40B4-BE49-F238E27FC236}">
                <a16:creationId xmlns:a16="http://schemas.microsoft.com/office/drawing/2014/main" id="{39A58102-D7DF-4FA6-A84A-091B9BF93FC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6EA361E-ECB5-4A34-8058-0720BADD9BEA}"/>
              </a:ext>
            </a:extLst>
          </p:cNvPr>
          <p:cNvSpPr>
            <a:spLocks noGrp="1"/>
          </p:cNvSpPr>
          <p:nvPr>
            <p:ph type="sldNum" sz="quarter" idx="12"/>
          </p:nvPr>
        </p:nvSpPr>
        <p:spPr/>
        <p:txBody>
          <a:bodyPr/>
          <a:lstStyle/>
          <a:p>
            <a:fld id="{3709107B-5CD9-45C5-865F-6828FE75E41C}" type="slidenum">
              <a:rPr lang="en-US" smtClean="0"/>
              <a:t>‹#›</a:t>
            </a:fld>
            <a:endParaRPr lang="en-US"/>
          </a:p>
        </p:txBody>
      </p:sp>
    </p:spTree>
    <p:extLst>
      <p:ext uri="{BB962C8B-B14F-4D97-AF65-F5344CB8AC3E}">
        <p14:creationId xmlns:p14="http://schemas.microsoft.com/office/powerpoint/2010/main" val="389235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CD790F-D34C-437F-82B7-0499D272788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48333DA-8B1D-49DF-997F-D8C96DA2A6B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28F0B304-03A7-47C4-BADB-B8EAA4E617B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D6E446C2-4A5B-4DE7-83D7-EDFF6AA1A218}"/>
              </a:ext>
            </a:extLst>
          </p:cNvPr>
          <p:cNvSpPr>
            <a:spLocks noGrp="1"/>
          </p:cNvSpPr>
          <p:nvPr>
            <p:ph type="dt" sz="half" idx="10"/>
          </p:nvPr>
        </p:nvSpPr>
        <p:spPr/>
        <p:txBody>
          <a:bodyPr/>
          <a:lstStyle/>
          <a:p>
            <a:fld id="{57CBC189-D998-4C47-8DDA-AA904C8A30B8}" type="datetimeFigureOut">
              <a:rPr lang="en-US" smtClean="0"/>
              <a:t>3/14/2019</a:t>
            </a:fld>
            <a:endParaRPr lang="en-US"/>
          </a:p>
        </p:txBody>
      </p:sp>
      <p:sp>
        <p:nvSpPr>
          <p:cNvPr id="6" name="Footer Placeholder 5">
            <a:extLst>
              <a:ext uri="{FF2B5EF4-FFF2-40B4-BE49-F238E27FC236}">
                <a16:creationId xmlns:a16="http://schemas.microsoft.com/office/drawing/2014/main" id="{291FEBB4-FED6-4BF3-9C78-4748C84F0D9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767B68F-A7B0-409A-B86B-ECFFF08C6F27}"/>
              </a:ext>
            </a:extLst>
          </p:cNvPr>
          <p:cNvSpPr>
            <a:spLocks noGrp="1"/>
          </p:cNvSpPr>
          <p:nvPr>
            <p:ph type="sldNum" sz="quarter" idx="12"/>
          </p:nvPr>
        </p:nvSpPr>
        <p:spPr/>
        <p:txBody>
          <a:bodyPr/>
          <a:lstStyle/>
          <a:p>
            <a:fld id="{3709107B-5CD9-45C5-865F-6828FE75E41C}" type="slidenum">
              <a:rPr lang="en-US" smtClean="0"/>
              <a:t>‹#›</a:t>
            </a:fld>
            <a:endParaRPr lang="en-US"/>
          </a:p>
        </p:txBody>
      </p:sp>
    </p:spTree>
    <p:extLst>
      <p:ext uri="{BB962C8B-B14F-4D97-AF65-F5344CB8AC3E}">
        <p14:creationId xmlns:p14="http://schemas.microsoft.com/office/powerpoint/2010/main" val="108259982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theme" Target="../theme/theme2.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CAD4AF6-BFDE-4248-88B7-B8A32F4C51A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41E4D77-5171-4504-BE81-CCE580A3ADE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1F5EB68-DAE3-424B-B9EE-509845A485D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7CBC189-D998-4C47-8DDA-AA904C8A30B8}" type="datetimeFigureOut">
              <a:rPr lang="en-US" smtClean="0"/>
              <a:t>3/14/2019</a:t>
            </a:fld>
            <a:endParaRPr lang="en-US"/>
          </a:p>
        </p:txBody>
      </p:sp>
      <p:sp>
        <p:nvSpPr>
          <p:cNvPr id="5" name="Footer Placeholder 4">
            <a:extLst>
              <a:ext uri="{FF2B5EF4-FFF2-40B4-BE49-F238E27FC236}">
                <a16:creationId xmlns:a16="http://schemas.microsoft.com/office/drawing/2014/main" id="{38522189-404E-4509-BFC8-853592BA9EA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5C1434A7-F0C0-4170-8B6A-870EC0F8F16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709107B-5CD9-45C5-865F-6828FE75E41C}" type="slidenum">
              <a:rPr lang="en-US" smtClean="0"/>
              <a:t>‹#›</a:t>
            </a:fld>
            <a:endParaRPr lang="en-US"/>
          </a:p>
        </p:txBody>
      </p:sp>
    </p:spTree>
    <p:extLst>
      <p:ext uri="{BB962C8B-B14F-4D97-AF65-F5344CB8AC3E}">
        <p14:creationId xmlns:p14="http://schemas.microsoft.com/office/powerpoint/2010/main" val="199057465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4" r:id="rId15"/>
    <p:sldLayoutId id="2147483700"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B5444C5-7014-467D-BB34-E2400B443BCE}" type="datetimeFigureOut">
              <a:rPr lang="en-US" smtClean="0"/>
              <a:t>3/14/2019</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3BA94C7-5C90-4871-9206-7541123BB42B}" type="slidenum">
              <a:rPr lang="en-US" smtClean="0"/>
              <a:t>‹#›</a:t>
            </a:fld>
            <a:endParaRPr lang="en-US"/>
          </a:p>
        </p:txBody>
      </p:sp>
    </p:spTree>
    <p:extLst>
      <p:ext uri="{BB962C8B-B14F-4D97-AF65-F5344CB8AC3E}">
        <p14:creationId xmlns:p14="http://schemas.microsoft.com/office/powerpoint/2010/main" val="3064298917"/>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697" r:id="rId14"/>
    <p:sldLayoutId id="2147483698" r:id="rId15"/>
    <p:sldLayoutId id="2147483699"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nam06.safelinks.protection.outlook.com/?url=https%3A%2F%2Fglobal.ainights.com&amp;data=02%7C01%7Cnilesha%40microsoft.com%7Ce68161c478234363ca9908d69f49d1e1%7C72f988bf86f141af91ab2d7cd011db47%7C1%7C0%7C636871536766777072&amp;sdata=%2B6B%2BXbT1SwnJjI5jpdfnYjB2HuzlwzI8TYPlUeVsFbM%3D&amp;reserved=0" TargetMode="External"/><Relationship Id="rId2" Type="http://schemas.openxmlformats.org/officeDocument/2006/relationships/image" Target="../media/image5.pn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svg"/><Relationship Id="rId7" Type="http://schemas.openxmlformats.org/officeDocument/2006/relationships/image" Target="../media/image25.svg"/><Relationship Id="rId2" Type="http://schemas.openxmlformats.org/officeDocument/2006/relationships/image" Target="../media/image20.png"/><Relationship Id="rId1" Type="http://schemas.openxmlformats.org/officeDocument/2006/relationships/slideLayout" Target="../slideLayouts/slideLayout7.xml"/><Relationship Id="rId6" Type="http://schemas.openxmlformats.org/officeDocument/2006/relationships/image" Target="../media/image24.png"/><Relationship Id="rId5" Type="http://schemas.openxmlformats.org/officeDocument/2006/relationships/image" Target="../media/image23.svg"/><Relationship Id="rId4" Type="http://schemas.openxmlformats.org/officeDocument/2006/relationships/image" Target="../media/image22.png"/><Relationship Id="rId9" Type="http://schemas.openxmlformats.org/officeDocument/2006/relationships/image" Target="../media/image27.svg"/></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hyperlink" Target="https://www.cnet.com/news/microsoft-brings-new-brains-to-azure-ai-at-ignite-conference/" TargetMode="External"/><Relationship Id="rId1" Type="http://schemas.openxmlformats.org/officeDocument/2006/relationships/slideLayout" Target="../slideLayouts/slideLayout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5.png"/><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9.xml"/><Relationship Id="rId1" Type="http://schemas.openxmlformats.org/officeDocument/2006/relationships/slideLayout" Target="../slideLayouts/slideLayout16.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0.xml"/><Relationship Id="rId1" Type="http://schemas.openxmlformats.org/officeDocument/2006/relationships/slideLayout" Target="../slideLayouts/slideLayout6.xml"/><Relationship Id="rId5" Type="http://schemas.openxmlformats.org/officeDocument/2006/relationships/image" Target="../media/image33.png"/><Relationship Id="rId4" Type="http://schemas.openxmlformats.org/officeDocument/2006/relationships/image" Target="../media/image32.png"/></Relationships>
</file>

<file path=ppt/slides/_rels/slide21.xml.rels><?xml version="1.0" encoding="UTF-8" standalone="yes"?>
<Relationships xmlns="http://schemas.openxmlformats.org/package/2006/relationships"><Relationship Id="rId3" Type="http://schemas.openxmlformats.org/officeDocument/2006/relationships/hyperlink" Target="mailto:AskAutomatedML@microsoft.com" TargetMode="External"/><Relationship Id="rId2" Type="http://schemas.openxmlformats.org/officeDocument/2006/relationships/notesSlide" Target="../notesSlides/notesSlide11.xml"/><Relationship Id="rId1" Type="http://schemas.openxmlformats.org/officeDocument/2006/relationships/slideLayout" Target="../slideLayouts/slideLayout9.xml"/><Relationship Id="rId6" Type="http://schemas.openxmlformats.org/officeDocument/2006/relationships/hyperlink" Target="https://aka.ms/AutomatedML" TargetMode="External"/><Relationship Id="rId5" Type="http://schemas.openxmlformats.org/officeDocument/2006/relationships/hyperlink" Target="https://github.com/Azure/MachineLearningNotebooks/tree/master/how-to-use-azureml/automated-machine-learning" TargetMode="External"/><Relationship Id="rId4" Type="http://schemas.openxmlformats.org/officeDocument/2006/relationships/hyperlink" Target="https://docs.microsoft.com/en-us/azure/machine-learning/service/concept-automated-ml" TargetMode="Externa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hyperlink" Target="https://www.youtube.com/watch?v=xr5Z-QZ4V4s" TargetMode="External"/><Relationship Id="rId1" Type="http://schemas.openxmlformats.org/officeDocument/2006/relationships/slideLayout" Target="../slideLayouts/slideLayout6.xml"/><Relationship Id="rId4" Type="http://schemas.openxmlformats.org/officeDocument/2006/relationships/image" Target="../media/image8.svg"/></Relationships>
</file>

<file path=ppt/slides/_rels/slide4.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28.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0.sv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2.xml"/></Relationships>
</file>

<file path=ppt/slides/_rels/slide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5.png"/><Relationship Id="rId1" Type="http://schemas.openxmlformats.org/officeDocument/2006/relationships/slideLayout" Target="../slideLayouts/slideLayout25.xml"/></Relationships>
</file>

<file path=ppt/slides/_rels/slide7.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Layout" Target="../slideLayouts/slideLayout6.xml"/><Relationship Id="rId5" Type="http://schemas.openxmlformats.org/officeDocument/2006/relationships/image" Target="../media/image19.svg"/><Relationship Id="rId4" Type="http://schemas.openxmlformats.org/officeDocument/2006/relationships/image" Target="../media/image18.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a:extLst>
              <a:ext uri="{FF2B5EF4-FFF2-40B4-BE49-F238E27FC236}">
                <a16:creationId xmlns:a16="http://schemas.microsoft.com/office/drawing/2014/main" id="{89024464-2345-4CA1-B522-C55BC130E663}"/>
              </a:ext>
            </a:extLst>
          </p:cNvPr>
          <p:cNvSpPr txBox="1">
            <a:spLocks/>
          </p:cNvSpPr>
          <p:nvPr/>
        </p:nvSpPr>
        <p:spPr bwMode="auto">
          <a:xfrm>
            <a:off x="132383" y="500712"/>
            <a:ext cx="11340601" cy="4516765"/>
          </a:xfrm>
          <a:prstGeom prst="rect">
            <a:avLst/>
          </a:prstGeom>
          <a:noFill/>
        </p:spPr>
        <p:txBody>
          <a:bodyPr vert="horz" wrap="square" lIns="146304" tIns="91440" rIns="146304" bIns="91440" rtlCol="0" anchor="t" anchorCtr="0">
            <a:noAutofit/>
          </a:bodyPr>
          <a:lstStyle>
            <a:lvl1pPr algn="l" defTabSz="914367" rtl="0" eaLnBrk="1" latinLnBrk="0" hangingPunct="1">
              <a:lnSpc>
                <a:spcPct val="90000"/>
              </a:lnSpc>
              <a:spcBef>
                <a:spcPct val="0"/>
              </a:spcBef>
              <a:buNone/>
              <a:defRPr lang="en-US" sz="4705" b="0" kern="1200" cap="none" spc="-98" baseline="0">
                <a:ln w="3175">
                  <a:noFill/>
                </a:ln>
                <a:solidFill>
                  <a:schemeClr val="bg1"/>
                </a:solidFill>
                <a:effectLst/>
                <a:latin typeface="+mj-lt"/>
                <a:ea typeface="+mn-ea"/>
                <a:cs typeface="Segoe UI" pitchFamily="34" charset="0"/>
              </a:defRPr>
            </a:lvl1pPr>
          </a:lstStyle>
          <a:p>
            <a:pPr lvl="0">
              <a:defRPr/>
            </a:pPr>
            <a:r>
              <a:rPr lang="en-US" sz="4700" dirty="0">
                <a:solidFill>
                  <a:srgbClr val="FFFFFF"/>
                </a:solidFill>
                <a:latin typeface="Segoe UI Light"/>
              </a:rPr>
              <a:t>Democratizing &amp; Accelerating AI Through Automated Machine Learning </a:t>
            </a:r>
            <a:br>
              <a:rPr lang="en-US" sz="4700" dirty="0">
                <a:solidFill>
                  <a:srgbClr val="FFFFFF"/>
                </a:solidFill>
                <a:latin typeface="Segoe UI Light"/>
              </a:rPr>
            </a:br>
            <a:br>
              <a:rPr lang="en-US" sz="4700" dirty="0">
                <a:solidFill>
                  <a:srgbClr val="FFFFFF"/>
                </a:solidFill>
                <a:latin typeface="Segoe UI Light"/>
              </a:rPr>
            </a:br>
            <a:r>
              <a:rPr lang="en-US" sz="4700" dirty="0">
                <a:solidFill>
                  <a:srgbClr val="FFFFFF"/>
                </a:solidFill>
                <a:latin typeface="Segoe UI Light"/>
              </a:rPr>
              <a:t>AI Platform Team</a:t>
            </a:r>
          </a:p>
        </p:txBody>
      </p:sp>
      <p:pic>
        <p:nvPicPr>
          <p:cNvPr id="3" name="Picture 2" descr="A picture containing indoor, floor&#10;&#10;Description automatically generated">
            <a:extLst>
              <a:ext uri="{FF2B5EF4-FFF2-40B4-BE49-F238E27FC236}">
                <a16:creationId xmlns:a16="http://schemas.microsoft.com/office/drawing/2014/main" id="{7E6C2A02-F9E6-459E-935A-4B724C286C1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530013" y="4762918"/>
            <a:ext cx="2252763" cy="1357215"/>
          </a:xfrm>
          <a:prstGeom prst="rect">
            <a:avLst/>
          </a:prstGeom>
        </p:spPr>
      </p:pic>
      <p:sp>
        <p:nvSpPr>
          <p:cNvPr id="4" name="Rectangle 3">
            <a:extLst>
              <a:ext uri="{FF2B5EF4-FFF2-40B4-BE49-F238E27FC236}">
                <a16:creationId xmlns:a16="http://schemas.microsoft.com/office/drawing/2014/main" id="{F108F7F4-9CDD-40C7-868E-11029F74ED25}"/>
              </a:ext>
            </a:extLst>
          </p:cNvPr>
          <p:cNvSpPr/>
          <p:nvPr/>
        </p:nvSpPr>
        <p:spPr>
          <a:xfrm>
            <a:off x="9748902" y="6172622"/>
            <a:ext cx="1814984" cy="369332"/>
          </a:xfrm>
          <a:prstGeom prst="rect">
            <a:avLst/>
          </a:prstGeom>
        </p:spPr>
        <p:txBody>
          <a:bodyPr wrap="none">
            <a:spAutoFit/>
          </a:bodyPr>
          <a:lstStyle/>
          <a:p>
            <a:pPr lvl="0">
              <a:defRPr/>
            </a:pPr>
            <a:r>
              <a:rPr lang="en-US" spc="-98" dirty="0">
                <a:ln w="3175">
                  <a:noFill/>
                </a:ln>
                <a:solidFill>
                  <a:srgbClr val="FFFFFF"/>
                </a:solidFill>
                <a:latin typeface="Segoe UI Light"/>
                <a:cs typeface="Segoe UI" pitchFamily="34" charset="0"/>
                <a:hlinkClick r:id="rId3">
                  <a:extLst>
                    <a:ext uri="{A12FA001-AC4F-418D-AE19-62706E023703}">
                      <ahyp:hlinkClr xmlns:ahyp="http://schemas.microsoft.com/office/drawing/2018/hyperlinkcolor" val="tx"/>
                    </a:ext>
                  </a:extLst>
                </a:hlinkClick>
              </a:rPr>
              <a:t>global.ainights.com</a:t>
            </a:r>
            <a:endParaRPr lang="en-US" spc="-98" dirty="0">
              <a:ln w="3175">
                <a:noFill/>
              </a:ln>
              <a:solidFill>
                <a:srgbClr val="FFFFFF"/>
              </a:solidFill>
              <a:latin typeface="Segoe UI Light"/>
              <a:cs typeface="Segoe UI" pitchFamily="34" charset="0"/>
            </a:endParaRPr>
          </a:p>
        </p:txBody>
      </p:sp>
      <p:sp>
        <p:nvSpPr>
          <p:cNvPr id="5" name="Rectangle 4">
            <a:extLst>
              <a:ext uri="{FF2B5EF4-FFF2-40B4-BE49-F238E27FC236}">
                <a16:creationId xmlns:a16="http://schemas.microsoft.com/office/drawing/2014/main" id="{7BD52640-6C01-46D7-A6F3-13DAB8C874F3}"/>
              </a:ext>
            </a:extLst>
          </p:cNvPr>
          <p:cNvSpPr/>
          <p:nvPr/>
        </p:nvSpPr>
        <p:spPr>
          <a:xfrm>
            <a:off x="242883" y="3180384"/>
            <a:ext cx="2997937" cy="584775"/>
          </a:xfrm>
          <a:prstGeom prst="rect">
            <a:avLst/>
          </a:prstGeom>
        </p:spPr>
        <p:txBody>
          <a:bodyPr wrap="none">
            <a:spAutoFit/>
          </a:bodyPr>
          <a:lstStyle/>
          <a:p>
            <a:r>
              <a:rPr lang="en-US" sz="3200" dirty="0">
                <a:solidFill>
                  <a:srgbClr val="FFFFFF"/>
                </a:solidFill>
                <a:latin typeface="Segoe UI Light"/>
              </a:rPr>
              <a:t>#</a:t>
            </a:r>
            <a:r>
              <a:rPr lang="en-US" sz="3200" dirty="0" err="1">
                <a:solidFill>
                  <a:srgbClr val="FFFFFF"/>
                </a:solidFill>
                <a:latin typeface="Segoe UI Light"/>
              </a:rPr>
              <a:t>GlobalAINights</a:t>
            </a:r>
            <a:endParaRPr lang="en-US" sz="3200" dirty="0"/>
          </a:p>
        </p:txBody>
      </p:sp>
    </p:spTree>
    <p:extLst>
      <p:ext uri="{BB962C8B-B14F-4D97-AF65-F5344CB8AC3E}">
        <p14:creationId xmlns:p14="http://schemas.microsoft.com/office/powerpoint/2010/main" val="3291958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6D24F1C5-AFA1-4EB9-B62D-87EF246C2E29}"/>
              </a:ext>
            </a:extLst>
          </p:cNvPr>
          <p:cNvSpPr/>
          <p:nvPr/>
        </p:nvSpPr>
        <p:spPr bwMode="auto">
          <a:xfrm>
            <a:off x="5577476" y="2780150"/>
            <a:ext cx="1669661" cy="175067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mn-ea"/>
                <a:cs typeface="Segoe UI Semibold" panose="020B0702040204020203" pitchFamily="34" charset="0"/>
              </a:rPr>
              <a:t>Criterion</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mn-ea"/>
                <a:cs typeface="Segoe UI Semibold" panose="020B0702040204020203" pitchFamily="34" charset="0"/>
              </a:rPr>
              <a:t>Loss</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mn-ea"/>
                <a:cs typeface="Segoe UI Semibold" panose="020B0702040204020203" pitchFamily="34" charset="0"/>
              </a:rPr>
              <a:t>Min Samples Split</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mn-ea"/>
                <a:cs typeface="Segoe UI Semibold" panose="020B0702040204020203" pitchFamily="34" charset="0"/>
              </a:rPr>
              <a:t>Min Samples Leaf</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mn-ea"/>
                <a:cs typeface="Segoe UI Semibold" panose="020B0702040204020203" pitchFamily="34" charset="0"/>
              </a:rPr>
              <a:t>Others</a:t>
            </a:r>
          </a:p>
        </p:txBody>
      </p:sp>
      <p:sp>
        <p:nvSpPr>
          <p:cNvPr id="84" name="Rectangle 83">
            <a:extLst>
              <a:ext uri="{FF2B5EF4-FFF2-40B4-BE49-F238E27FC236}">
                <a16:creationId xmlns:a16="http://schemas.microsoft.com/office/drawing/2014/main" id="{92192048-1443-47D3-9B5E-3646ED6B16D2}"/>
              </a:ext>
            </a:extLst>
          </p:cNvPr>
          <p:cNvSpPr/>
          <p:nvPr/>
        </p:nvSpPr>
        <p:spPr bwMode="auto">
          <a:xfrm>
            <a:off x="5577476" y="2780150"/>
            <a:ext cx="1669661" cy="175067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mn-ea"/>
                <a:cs typeface="Segoe UI Semibold" panose="020B0702040204020203" pitchFamily="34" charset="0"/>
              </a:rPr>
              <a:t>N </a:t>
            </a: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Neighbors</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Weights</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Metric</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P</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Others</a:t>
            </a:r>
          </a:p>
        </p:txBody>
      </p:sp>
      <p:sp>
        <p:nvSpPr>
          <p:cNvPr id="33" name="Rectangle 32">
            <a:extLst>
              <a:ext uri="{FF2B5EF4-FFF2-40B4-BE49-F238E27FC236}">
                <a16:creationId xmlns:a16="http://schemas.microsoft.com/office/drawing/2014/main" id="{E85050E8-530B-48B8-8D30-6B4189AAC40C}"/>
              </a:ext>
            </a:extLst>
          </p:cNvPr>
          <p:cNvSpPr/>
          <p:nvPr/>
        </p:nvSpPr>
        <p:spPr bwMode="auto">
          <a:xfrm>
            <a:off x="3084709" y="2268043"/>
            <a:ext cx="2211940" cy="3416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Which algorithm?</a:t>
            </a:r>
          </a:p>
        </p:txBody>
      </p:sp>
      <p:sp>
        <p:nvSpPr>
          <p:cNvPr id="42" name="Rectangle 41">
            <a:extLst>
              <a:ext uri="{FF2B5EF4-FFF2-40B4-BE49-F238E27FC236}">
                <a16:creationId xmlns:a16="http://schemas.microsoft.com/office/drawing/2014/main" id="{8DFBE1EA-D672-4BA2-8AC5-8F9258F9AE8E}"/>
              </a:ext>
            </a:extLst>
          </p:cNvPr>
          <p:cNvSpPr/>
          <p:nvPr/>
        </p:nvSpPr>
        <p:spPr bwMode="auto">
          <a:xfrm>
            <a:off x="5577476" y="2268043"/>
            <a:ext cx="2410588" cy="3416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panose="020B0702040204020203" pitchFamily="34" charset="0"/>
                <a:ea typeface="Segoe UI" pitchFamily="34" charset="0"/>
                <a:cs typeface="Segoe UI Semibold" panose="020B0702040204020203" pitchFamily="34" charset="0"/>
              </a:rPr>
              <a:t>Which parameters?</a:t>
            </a:r>
          </a:p>
        </p:txBody>
      </p:sp>
      <p:sp>
        <p:nvSpPr>
          <p:cNvPr id="29" name="Rectangle 28">
            <a:extLst>
              <a:ext uri="{FF2B5EF4-FFF2-40B4-BE49-F238E27FC236}">
                <a16:creationId xmlns:a16="http://schemas.microsoft.com/office/drawing/2014/main" id="{22EE7413-F083-4FA4-B233-0BE9A60054A1}"/>
              </a:ext>
            </a:extLst>
          </p:cNvPr>
          <p:cNvSpPr/>
          <p:nvPr/>
        </p:nvSpPr>
        <p:spPr bwMode="auto">
          <a:xfrm>
            <a:off x="735582" y="2268043"/>
            <a:ext cx="2068299" cy="3416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panose="020B0702040204020203" pitchFamily="34" charset="0"/>
                <a:ea typeface="Segoe UI" pitchFamily="34" charset="0"/>
                <a:cs typeface="Segoe UI Semibold" panose="020B0702040204020203" pitchFamily="34" charset="0"/>
              </a:rPr>
              <a:t>Which features?</a:t>
            </a:r>
          </a:p>
        </p:txBody>
      </p:sp>
      <p:sp>
        <p:nvSpPr>
          <p:cNvPr id="6" name="Rectangle 5">
            <a:extLst>
              <a:ext uri="{FF2B5EF4-FFF2-40B4-BE49-F238E27FC236}">
                <a16:creationId xmlns:a16="http://schemas.microsoft.com/office/drawing/2014/main" id="{1168F540-B516-4595-99BE-669BAE43E877}"/>
              </a:ext>
            </a:extLst>
          </p:cNvPr>
          <p:cNvSpPr/>
          <p:nvPr/>
        </p:nvSpPr>
        <p:spPr bwMode="auto">
          <a:xfrm>
            <a:off x="735582" y="2780150"/>
            <a:ext cx="1775864" cy="21046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Mileage</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Condition</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Car brand</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Year of make</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Regulations</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a:t>
            </a:r>
          </a:p>
        </p:txBody>
      </p:sp>
      <p:sp>
        <p:nvSpPr>
          <p:cNvPr id="9" name="Rectangle 8">
            <a:extLst>
              <a:ext uri="{FF2B5EF4-FFF2-40B4-BE49-F238E27FC236}">
                <a16:creationId xmlns:a16="http://schemas.microsoft.com/office/drawing/2014/main" id="{8613D47F-F817-488D-A5C9-E311626DB096}"/>
              </a:ext>
            </a:extLst>
          </p:cNvPr>
          <p:cNvSpPr/>
          <p:nvPr/>
        </p:nvSpPr>
        <p:spPr bwMode="auto">
          <a:xfrm>
            <a:off x="3084711" y="2780150"/>
            <a:ext cx="2281590" cy="21046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Gradient Boosted  </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Nearest Neighbors </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SVM</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Bayesian Regression</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LGBM </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a:t>
            </a:r>
          </a:p>
        </p:txBody>
      </p:sp>
      <p:sp>
        <p:nvSpPr>
          <p:cNvPr id="12" name="Rectangle 11">
            <a:extLst>
              <a:ext uri="{FF2B5EF4-FFF2-40B4-BE49-F238E27FC236}">
                <a16:creationId xmlns:a16="http://schemas.microsoft.com/office/drawing/2014/main" id="{839EEEBE-474C-4A48-8C83-5F1694ABB77B}"/>
              </a:ext>
            </a:extLst>
          </p:cNvPr>
          <p:cNvSpPr/>
          <p:nvPr/>
        </p:nvSpPr>
        <p:spPr bwMode="auto">
          <a:xfrm>
            <a:off x="3084711" y="3156498"/>
            <a:ext cx="2084214" cy="33832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rPr>
              <a:t>Nearest Neighbors</a:t>
            </a:r>
          </a:p>
        </p:txBody>
      </p:sp>
      <p:grpSp>
        <p:nvGrpSpPr>
          <p:cNvPr id="14" name="Group 13">
            <a:extLst>
              <a:ext uri="{FF2B5EF4-FFF2-40B4-BE49-F238E27FC236}">
                <a16:creationId xmlns:a16="http://schemas.microsoft.com/office/drawing/2014/main" id="{EB7F8B3D-BA5D-451F-A1DB-80D9356B9AD0}"/>
              </a:ext>
            </a:extLst>
          </p:cNvPr>
          <p:cNvGrpSpPr/>
          <p:nvPr/>
        </p:nvGrpSpPr>
        <p:grpSpPr>
          <a:xfrm>
            <a:off x="7295059" y="2917625"/>
            <a:ext cx="1450614" cy="147003"/>
            <a:chOff x="8120217" y="3558128"/>
            <a:chExt cx="1940664" cy="147003"/>
          </a:xfrm>
        </p:grpSpPr>
        <p:cxnSp>
          <p:nvCxnSpPr>
            <p:cNvPr id="15" name="Straight Connector 14">
              <a:extLst>
                <a:ext uri="{FF2B5EF4-FFF2-40B4-BE49-F238E27FC236}">
                  <a16:creationId xmlns:a16="http://schemas.microsoft.com/office/drawing/2014/main" id="{36E66D7F-221D-4A0D-A9EC-9E8497E2AEAA}"/>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F721B48-8884-4907-8896-F0A5619E29E6}"/>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570DBDBC-C4D7-4D6E-9975-A40CD248796E}"/>
                </a:ext>
              </a:extLst>
            </p:cNvPr>
            <p:cNvGrpSpPr/>
            <p:nvPr/>
          </p:nvGrpSpPr>
          <p:grpSpPr>
            <a:xfrm>
              <a:off x="8335846" y="3593256"/>
              <a:ext cx="1509402" cy="111875"/>
              <a:chOff x="8335846" y="3498555"/>
              <a:chExt cx="1509402" cy="206573"/>
            </a:xfrm>
          </p:grpSpPr>
          <p:cxnSp>
            <p:nvCxnSpPr>
              <p:cNvPr id="18" name="Straight Connector 17">
                <a:extLst>
                  <a:ext uri="{FF2B5EF4-FFF2-40B4-BE49-F238E27FC236}">
                    <a16:creationId xmlns:a16="http://schemas.microsoft.com/office/drawing/2014/main" id="{33F4E9F9-A7BB-417B-B7D8-44E513C1E35E}"/>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C4471F8A-A6FF-478F-B21C-16B27F79EA16}"/>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87BD7BAD-A456-4CDA-AAF2-5B28F66CF7AC}"/>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D93968D-4ED1-4D98-BC02-7CE789FA38B2}"/>
                  </a:ext>
                </a:extLst>
              </p:cNvPr>
              <p:cNvCxnSpPr>
                <a:cxnSpLocks/>
              </p:cNvCxnSpPr>
              <p:nvPr/>
            </p:nvCxnSpPr>
            <p:spPr>
              <a:xfrm flipV="1">
                <a:off x="8982733" y="3498555"/>
                <a:ext cx="0" cy="206573"/>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6F79CF59-778A-4310-9EAA-73FC5193DBEB}"/>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235C58FA-21CF-4D4E-8F85-D218ABD5DBD4}"/>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307C462-2E34-4B78-AF4D-6D93FF61EB7D}"/>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482B236-4337-4E82-BF42-5F3BF652CD04}"/>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26" name="Group 25">
            <a:extLst>
              <a:ext uri="{FF2B5EF4-FFF2-40B4-BE49-F238E27FC236}">
                <a16:creationId xmlns:a16="http://schemas.microsoft.com/office/drawing/2014/main" id="{AE3E6691-849A-42CE-B310-226C974D8545}"/>
              </a:ext>
            </a:extLst>
          </p:cNvPr>
          <p:cNvGrpSpPr/>
          <p:nvPr/>
        </p:nvGrpSpPr>
        <p:grpSpPr>
          <a:xfrm>
            <a:off x="7295059" y="3257223"/>
            <a:ext cx="1450614" cy="146999"/>
            <a:chOff x="8120217" y="3558128"/>
            <a:chExt cx="1940664" cy="146999"/>
          </a:xfrm>
        </p:grpSpPr>
        <p:cxnSp>
          <p:nvCxnSpPr>
            <p:cNvPr id="27" name="Straight Connector 26">
              <a:extLst>
                <a:ext uri="{FF2B5EF4-FFF2-40B4-BE49-F238E27FC236}">
                  <a16:creationId xmlns:a16="http://schemas.microsoft.com/office/drawing/2014/main" id="{4A2AADB1-5ACB-4B06-8960-DA5B2CBA9577}"/>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B971EAF7-2482-48BE-B9D1-ED930A7D5255}"/>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1B140EAB-319E-4A3D-BADD-1487F2A8610F}"/>
                </a:ext>
              </a:extLst>
            </p:cNvPr>
            <p:cNvGrpSpPr/>
            <p:nvPr/>
          </p:nvGrpSpPr>
          <p:grpSpPr>
            <a:xfrm>
              <a:off x="8335846" y="3592140"/>
              <a:ext cx="1509402" cy="112986"/>
              <a:chOff x="8335846" y="3496504"/>
              <a:chExt cx="1509402" cy="208625"/>
            </a:xfrm>
          </p:grpSpPr>
          <p:cxnSp>
            <p:nvCxnSpPr>
              <p:cNvPr id="31" name="Straight Connector 30">
                <a:extLst>
                  <a:ext uri="{FF2B5EF4-FFF2-40B4-BE49-F238E27FC236}">
                    <a16:creationId xmlns:a16="http://schemas.microsoft.com/office/drawing/2014/main" id="{E00BEBDB-ED9F-4CF4-86F8-6932A394656B}"/>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85136C-A8BF-418A-AC51-79F632211548}"/>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ED7CE1A0-DB70-4794-98EC-7F2367C9D904}"/>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FE2E449-5E21-4074-AE06-FFA79787AFB8}"/>
                  </a:ext>
                </a:extLst>
              </p:cNvPr>
              <p:cNvCxnSpPr>
                <a:cxnSpLocks/>
              </p:cNvCxnSpPr>
              <p:nvPr/>
            </p:nvCxnSpPr>
            <p:spPr>
              <a:xfrm flipV="1">
                <a:off x="8982733" y="3496504"/>
                <a:ext cx="0" cy="208625"/>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7693B8E-21A1-4B6A-B15E-5563F05446DF}"/>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48085440-B678-4A53-91EA-F68A0F5D3ABF}"/>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3ECADAF9-6666-4671-8DF5-6C4B0902B046}"/>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DF39F7B7-30CE-40EC-BD52-084CB961FCF6}"/>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40" name="Group 39">
            <a:extLst>
              <a:ext uri="{FF2B5EF4-FFF2-40B4-BE49-F238E27FC236}">
                <a16:creationId xmlns:a16="http://schemas.microsoft.com/office/drawing/2014/main" id="{42862650-122D-478D-A643-4F78F1CFC9AD}"/>
              </a:ext>
            </a:extLst>
          </p:cNvPr>
          <p:cNvGrpSpPr/>
          <p:nvPr/>
        </p:nvGrpSpPr>
        <p:grpSpPr>
          <a:xfrm>
            <a:off x="7295059" y="3596817"/>
            <a:ext cx="1450614" cy="147000"/>
            <a:chOff x="8120217" y="3558128"/>
            <a:chExt cx="1940664" cy="147000"/>
          </a:xfrm>
        </p:grpSpPr>
        <p:cxnSp>
          <p:nvCxnSpPr>
            <p:cNvPr id="41" name="Straight Connector 40">
              <a:extLst>
                <a:ext uri="{FF2B5EF4-FFF2-40B4-BE49-F238E27FC236}">
                  <a16:creationId xmlns:a16="http://schemas.microsoft.com/office/drawing/2014/main" id="{9D607C2D-C5DF-442D-8A48-59D656A91493}"/>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DA20C60-AB0F-478B-8CA7-BFE6B3F9DBD4}"/>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44" name="Group 43">
              <a:extLst>
                <a:ext uri="{FF2B5EF4-FFF2-40B4-BE49-F238E27FC236}">
                  <a16:creationId xmlns:a16="http://schemas.microsoft.com/office/drawing/2014/main" id="{D0211F3B-8C0B-4A97-9EA8-D67A0CB21FF3}"/>
                </a:ext>
              </a:extLst>
            </p:cNvPr>
            <p:cNvGrpSpPr/>
            <p:nvPr/>
          </p:nvGrpSpPr>
          <p:grpSpPr>
            <a:xfrm>
              <a:off x="8335846" y="3593752"/>
              <a:ext cx="1509402" cy="111376"/>
              <a:chOff x="8335846" y="3499477"/>
              <a:chExt cx="1509402" cy="205652"/>
            </a:xfrm>
          </p:grpSpPr>
          <p:cxnSp>
            <p:nvCxnSpPr>
              <p:cNvPr id="45" name="Straight Connector 44">
                <a:extLst>
                  <a:ext uri="{FF2B5EF4-FFF2-40B4-BE49-F238E27FC236}">
                    <a16:creationId xmlns:a16="http://schemas.microsoft.com/office/drawing/2014/main" id="{7F1B9279-5D72-436B-AA70-8DE4EE1BA9C3}"/>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3EFC06FA-2399-48C8-B905-D7338CDD3CDC}"/>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F4B3B114-19EA-47E8-BE1A-AABBCF4D4F21}"/>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F817593F-BEB3-4069-B7AD-0436D92788C8}"/>
                  </a:ext>
                </a:extLst>
              </p:cNvPr>
              <p:cNvCxnSpPr>
                <a:cxnSpLocks/>
              </p:cNvCxnSpPr>
              <p:nvPr/>
            </p:nvCxnSpPr>
            <p:spPr>
              <a:xfrm flipV="1">
                <a:off x="8982733" y="3499477"/>
                <a:ext cx="0" cy="205652"/>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7A67F6FE-9B8F-4A1B-A058-5414093A731F}"/>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B9F0A976-453B-463F-91D6-0C611B815CBC}"/>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E565DDC2-7B47-4B83-A0FB-2DC7C7C8BC1B}"/>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1D3691DC-B356-4D59-99E2-0970AE2C758A}"/>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53" name="Group 52">
            <a:extLst>
              <a:ext uri="{FF2B5EF4-FFF2-40B4-BE49-F238E27FC236}">
                <a16:creationId xmlns:a16="http://schemas.microsoft.com/office/drawing/2014/main" id="{B4CEA875-FCA7-44FB-A4C6-37F4D145A96D}"/>
              </a:ext>
            </a:extLst>
          </p:cNvPr>
          <p:cNvGrpSpPr/>
          <p:nvPr/>
        </p:nvGrpSpPr>
        <p:grpSpPr>
          <a:xfrm>
            <a:off x="7295059" y="3936411"/>
            <a:ext cx="1450614" cy="147002"/>
            <a:chOff x="8120217" y="3558128"/>
            <a:chExt cx="1940664" cy="147002"/>
          </a:xfrm>
        </p:grpSpPr>
        <p:cxnSp>
          <p:nvCxnSpPr>
            <p:cNvPr id="54" name="Straight Connector 53">
              <a:extLst>
                <a:ext uri="{FF2B5EF4-FFF2-40B4-BE49-F238E27FC236}">
                  <a16:creationId xmlns:a16="http://schemas.microsoft.com/office/drawing/2014/main" id="{B967AD7B-F52F-4B1F-B557-CDADFF492C20}"/>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2E85ECC0-806C-4FB5-AAC3-F83E14B7B514}"/>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56" name="Group 55">
              <a:extLst>
                <a:ext uri="{FF2B5EF4-FFF2-40B4-BE49-F238E27FC236}">
                  <a16:creationId xmlns:a16="http://schemas.microsoft.com/office/drawing/2014/main" id="{1E82DF8A-9DA7-42CE-A9D7-D153E0037A75}"/>
                </a:ext>
              </a:extLst>
            </p:cNvPr>
            <p:cNvGrpSpPr/>
            <p:nvPr/>
          </p:nvGrpSpPr>
          <p:grpSpPr>
            <a:xfrm>
              <a:off x="8335846" y="3595364"/>
              <a:ext cx="1509402" cy="109766"/>
              <a:chOff x="8335846" y="3502450"/>
              <a:chExt cx="1509402" cy="202679"/>
            </a:xfrm>
          </p:grpSpPr>
          <p:cxnSp>
            <p:nvCxnSpPr>
              <p:cNvPr id="57" name="Straight Connector 56">
                <a:extLst>
                  <a:ext uri="{FF2B5EF4-FFF2-40B4-BE49-F238E27FC236}">
                    <a16:creationId xmlns:a16="http://schemas.microsoft.com/office/drawing/2014/main" id="{B49411CB-20CD-4961-BCEF-F473BF9DE50E}"/>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C03961EE-4D11-41B0-A80C-6F74F6E972D2}"/>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7EB82067-4994-4ABF-9DFE-E6EDD20ACAD8}"/>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13EC73D7-0229-49D8-9310-B919F1C32BD2}"/>
                  </a:ext>
                </a:extLst>
              </p:cNvPr>
              <p:cNvCxnSpPr>
                <a:cxnSpLocks/>
              </p:cNvCxnSpPr>
              <p:nvPr/>
            </p:nvCxnSpPr>
            <p:spPr>
              <a:xfrm flipV="1">
                <a:off x="8982733" y="3502450"/>
                <a:ext cx="0" cy="20267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6EB320E5-A7E5-43E0-B8AA-F97D163948B3}"/>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0048D1FB-D453-418E-825B-CD0FE7434ECD}"/>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029C819F-C82D-4546-96FF-9F6354F14FA0}"/>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D438182D-82AE-4512-8139-D435A9D2FB23}"/>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66" name="Isosceles Triangle 65">
            <a:extLst>
              <a:ext uri="{FF2B5EF4-FFF2-40B4-BE49-F238E27FC236}">
                <a16:creationId xmlns:a16="http://schemas.microsoft.com/office/drawing/2014/main" id="{B0DD8EC6-0046-4274-B5A9-B81B57C48785}"/>
              </a:ext>
            </a:extLst>
          </p:cNvPr>
          <p:cNvSpPr/>
          <p:nvPr/>
        </p:nvSpPr>
        <p:spPr bwMode="auto">
          <a:xfrm>
            <a:off x="8354730" y="2973188"/>
            <a:ext cx="137160" cy="9144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7" name="Isosceles Triangle 66">
            <a:extLst>
              <a:ext uri="{FF2B5EF4-FFF2-40B4-BE49-F238E27FC236}">
                <a16:creationId xmlns:a16="http://schemas.microsoft.com/office/drawing/2014/main" id="{B25060C6-9AA8-42B4-9FAE-2F09F4C71448}"/>
              </a:ext>
            </a:extLst>
          </p:cNvPr>
          <p:cNvSpPr/>
          <p:nvPr/>
        </p:nvSpPr>
        <p:spPr bwMode="auto">
          <a:xfrm>
            <a:off x="7712911" y="3312783"/>
            <a:ext cx="137160" cy="9144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 name="Isosceles Triangle 67">
            <a:extLst>
              <a:ext uri="{FF2B5EF4-FFF2-40B4-BE49-F238E27FC236}">
                <a16:creationId xmlns:a16="http://schemas.microsoft.com/office/drawing/2014/main" id="{3DD55A1A-0126-4F4B-8DAB-7170E3312892}"/>
              </a:ext>
            </a:extLst>
          </p:cNvPr>
          <p:cNvSpPr/>
          <p:nvPr/>
        </p:nvSpPr>
        <p:spPr bwMode="auto">
          <a:xfrm>
            <a:off x="7863791" y="3652378"/>
            <a:ext cx="137160" cy="9144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 name="Isosceles Triangle 68">
            <a:extLst>
              <a:ext uri="{FF2B5EF4-FFF2-40B4-BE49-F238E27FC236}">
                <a16:creationId xmlns:a16="http://schemas.microsoft.com/office/drawing/2014/main" id="{D4F56831-466C-490B-994D-C4E766A67456}"/>
              </a:ext>
            </a:extLst>
          </p:cNvPr>
          <p:cNvSpPr/>
          <p:nvPr/>
        </p:nvSpPr>
        <p:spPr bwMode="auto">
          <a:xfrm>
            <a:off x="7542627" y="3991973"/>
            <a:ext cx="137160" cy="9144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Rectangle 72">
            <a:extLst>
              <a:ext uri="{FF2B5EF4-FFF2-40B4-BE49-F238E27FC236}">
                <a16:creationId xmlns:a16="http://schemas.microsoft.com/office/drawing/2014/main" id="{8073F30B-1B75-468A-9E11-233BEF8B686E}"/>
              </a:ext>
            </a:extLst>
          </p:cNvPr>
          <p:cNvSpPr/>
          <p:nvPr/>
        </p:nvSpPr>
        <p:spPr bwMode="auto">
          <a:xfrm>
            <a:off x="9571688" y="3743449"/>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50%</a:t>
            </a:r>
          </a:p>
        </p:txBody>
      </p:sp>
      <p:sp>
        <p:nvSpPr>
          <p:cNvPr id="74" name="TextBox 73">
            <a:extLst>
              <a:ext uri="{FF2B5EF4-FFF2-40B4-BE49-F238E27FC236}">
                <a16:creationId xmlns:a16="http://schemas.microsoft.com/office/drawing/2014/main" id="{5819BF1A-393F-4DC0-AAFF-F23D33A65562}"/>
              </a:ext>
            </a:extLst>
          </p:cNvPr>
          <p:cNvSpPr txBox="1"/>
          <p:nvPr/>
        </p:nvSpPr>
        <p:spPr>
          <a:xfrm>
            <a:off x="9605599" y="4225265"/>
            <a:ext cx="585417" cy="244682"/>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a:ln>
                  <a:noFill/>
                </a:ln>
                <a:solidFill>
                  <a:srgbClr val="0078D4"/>
                </a:solidFill>
                <a:effectLst/>
                <a:uLnTx/>
                <a:uFillTx/>
                <a:latin typeface="Segoe UI"/>
                <a:ea typeface="+mn-ea"/>
                <a:cs typeface="+mn-cs"/>
              </a:rPr>
              <a:t>Model</a:t>
            </a:r>
          </a:p>
        </p:txBody>
      </p:sp>
      <p:sp>
        <p:nvSpPr>
          <p:cNvPr id="75" name="Diamond 3">
            <a:extLst>
              <a:ext uri="{FF2B5EF4-FFF2-40B4-BE49-F238E27FC236}">
                <a16:creationId xmlns:a16="http://schemas.microsoft.com/office/drawing/2014/main" id="{59BED6B8-E637-4542-88C4-C688B7867D90}"/>
              </a:ext>
            </a:extLst>
          </p:cNvPr>
          <p:cNvSpPr/>
          <p:nvPr/>
        </p:nvSpPr>
        <p:spPr bwMode="auto">
          <a:xfrm>
            <a:off x="8982518" y="2767649"/>
            <a:ext cx="323919" cy="2410590"/>
          </a:xfrm>
          <a:custGeom>
            <a:avLst/>
            <a:gdLst>
              <a:gd name="connsiteX0" fmla="*/ 0 w 594505"/>
              <a:gd name="connsiteY0" fmla="*/ 509452 h 1018903"/>
              <a:gd name="connsiteX1" fmla="*/ 297253 w 594505"/>
              <a:gd name="connsiteY1" fmla="*/ 0 h 1018903"/>
              <a:gd name="connsiteX2" fmla="*/ 594505 w 594505"/>
              <a:gd name="connsiteY2" fmla="*/ 509452 h 1018903"/>
              <a:gd name="connsiteX3" fmla="*/ 297253 w 594505"/>
              <a:gd name="connsiteY3" fmla="*/ 1018903 h 1018903"/>
              <a:gd name="connsiteX4" fmla="*/ 0 w 594505"/>
              <a:gd name="connsiteY4" fmla="*/ 509452 h 1018903"/>
              <a:gd name="connsiteX0" fmla="*/ 0 w 594505"/>
              <a:gd name="connsiteY0" fmla="*/ 509452 h 1018903"/>
              <a:gd name="connsiteX1" fmla="*/ 297253 w 594505"/>
              <a:gd name="connsiteY1" fmla="*/ 0 h 1018903"/>
              <a:gd name="connsiteX2" fmla="*/ 594505 w 594505"/>
              <a:gd name="connsiteY2" fmla="*/ 509452 h 1018903"/>
              <a:gd name="connsiteX3" fmla="*/ 297253 w 594505"/>
              <a:gd name="connsiteY3" fmla="*/ 1018903 h 1018903"/>
              <a:gd name="connsiteX4" fmla="*/ 91440 w 594505"/>
              <a:gd name="connsiteY4" fmla="*/ 600892 h 1018903"/>
              <a:gd name="connsiteX0" fmla="*/ 0 w 594505"/>
              <a:gd name="connsiteY0" fmla="*/ 509452 h 1018903"/>
              <a:gd name="connsiteX1" fmla="*/ 297253 w 594505"/>
              <a:gd name="connsiteY1" fmla="*/ 0 h 1018903"/>
              <a:gd name="connsiteX2" fmla="*/ 594505 w 594505"/>
              <a:gd name="connsiteY2" fmla="*/ 509452 h 1018903"/>
              <a:gd name="connsiteX3" fmla="*/ 297253 w 594505"/>
              <a:gd name="connsiteY3" fmla="*/ 1018903 h 1018903"/>
              <a:gd name="connsiteX0" fmla="*/ 0 w 297252"/>
              <a:gd name="connsiteY0" fmla="*/ 0 h 1018903"/>
              <a:gd name="connsiteX1" fmla="*/ 297252 w 297252"/>
              <a:gd name="connsiteY1" fmla="*/ 509452 h 1018903"/>
              <a:gd name="connsiteX2" fmla="*/ 0 w 297252"/>
              <a:gd name="connsiteY2" fmla="*/ 1018903 h 1018903"/>
            </a:gdLst>
            <a:ahLst/>
            <a:cxnLst>
              <a:cxn ang="0">
                <a:pos x="connsiteX0" y="connsiteY0"/>
              </a:cxn>
              <a:cxn ang="0">
                <a:pos x="connsiteX1" y="connsiteY1"/>
              </a:cxn>
              <a:cxn ang="0">
                <a:pos x="connsiteX2" y="connsiteY2"/>
              </a:cxn>
            </a:cxnLst>
            <a:rect l="l" t="t" r="r" b="b"/>
            <a:pathLst>
              <a:path w="297252" h="1018903">
                <a:moveTo>
                  <a:pt x="0" y="0"/>
                </a:moveTo>
                <a:lnTo>
                  <a:pt x="297252" y="509452"/>
                </a:lnTo>
                <a:lnTo>
                  <a:pt x="0" y="1018903"/>
                </a:lnTo>
              </a:path>
            </a:pathLst>
          </a:custGeom>
          <a:ln w="12700">
            <a:solidFill>
              <a:schemeClr val="tx2"/>
            </a:solidFill>
            <a:headEnd type="none"/>
            <a:tailEnd type="none"/>
          </a:ln>
        </p:spPr>
        <p:style>
          <a:lnRef idx="1">
            <a:schemeClr val="accent4"/>
          </a:lnRef>
          <a:fillRef idx="0">
            <a:schemeClr val="accent4"/>
          </a:fillRef>
          <a:effectRef idx="0">
            <a:schemeClr val="accent4"/>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7" name="Group 76">
            <a:extLst>
              <a:ext uri="{FF2B5EF4-FFF2-40B4-BE49-F238E27FC236}">
                <a16:creationId xmlns:a16="http://schemas.microsoft.com/office/drawing/2014/main" id="{77B495D5-2B30-4AA1-AA98-F45B619A2F83}"/>
              </a:ext>
            </a:extLst>
          </p:cNvPr>
          <p:cNvGrpSpPr/>
          <p:nvPr/>
        </p:nvGrpSpPr>
        <p:grpSpPr>
          <a:xfrm>
            <a:off x="588264" y="5680406"/>
            <a:ext cx="8661068" cy="663526"/>
            <a:chOff x="837632" y="5844616"/>
            <a:chExt cx="9792001" cy="663526"/>
          </a:xfrm>
        </p:grpSpPr>
        <p:cxnSp>
          <p:nvCxnSpPr>
            <p:cNvPr id="78" name="Connector: Elbow 77">
              <a:extLst>
                <a:ext uri="{FF2B5EF4-FFF2-40B4-BE49-F238E27FC236}">
                  <a16:creationId xmlns:a16="http://schemas.microsoft.com/office/drawing/2014/main" id="{CD9E5583-191B-46A7-89A0-4970E92444FC}"/>
                </a:ext>
              </a:extLst>
            </p:cNvPr>
            <p:cNvCxnSpPr>
              <a:cxnSpLocks/>
            </p:cNvCxnSpPr>
            <p:nvPr/>
          </p:nvCxnSpPr>
          <p:spPr>
            <a:xfrm rot="5400000">
              <a:off x="5727283" y="954965"/>
              <a:ext cx="12700" cy="9792001"/>
            </a:xfrm>
            <a:prstGeom prst="bentConnector3">
              <a:avLst>
                <a:gd name="adj1" fmla="val 2170835"/>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79" name="Rectangle 78">
              <a:extLst>
                <a:ext uri="{FF2B5EF4-FFF2-40B4-BE49-F238E27FC236}">
                  <a16:creationId xmlns:a16="http://schemas.microsoft.com/office/drawing/2014/main" id="{619FF23F-887C-46B1-9898-6C2E0700A7A2}"/>
                </a:ext>
              </a:extLst>
            </p:cNvPr>
            <p:cNvSpPr/>
            <p:nvPr/>
          </p:nvSpPr>
          <p:spPr bwMode="auto">
            <a:xfrm>
              <a:off x="5160653" y="6221910"/>
              <a:ext cx="1145960" cy="2862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panose="020B0702040204020203" pitchFamily="34" charset="0"/>
                  <a:ea typeface="Segoe UI" pitchFamily="34" charset="0"/>
                  <a:cs typeface="Segoe UI Semibold" panose="020B0702040204020203" pitchFamily="34" charset="0"/>
                </a:rPr>
                <a:t>Iterate</a:t>
              </a:r>
            </a:p>
          </p:txBody>
        </p:sp>
      </p:grpSp>
      <p:sp>
        <p:nvSpPr>
          <p:cNvPr id="80" name="Rectangle 79">
            <a:extLst>
              <a:ext uri="{FF2B5EF4-FFF2-40B4-BE49-F238E27FC236}">
                <a16:creationId xmlns:a16="http://schemas.microsoft.com/office/drawing/2014/main" id="{6C1DA2B4-1C0E-4041-B2C8-AE1DBE888000}"/>
              </a:ext>
            </a:extLst>
          </p:cNvPr>
          <p:cNvSpPr/>
          <p:nvPr/>
        </p:nvSpPr>
        <p:spPr bwMode="auto">
          <a:xfrm>
            <a:off x="9571688" y="3751867"/>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30%</a:t>
            </a:r>
          </a:p>
        </p:txBody>
      </p:sp>
      <p:sp>
        <p:nvSpPr>
          <p:cNvPr id="83" name="Rectangle 82">
            <a:extLst>
              <a:ext uri="{FF2B5EF4-FFF2-40B4-BE49-F238E27FC236}">
                <a16:creationId xmlns:a16="http://schemas.microsoft.com/office/drawing/2014/main" id="{766313DE-E1C9-40AE-938F-A49589B1BBD4}"/>
              </a:ext>
            </a:extLst>
          </p:cNvPr>
          <p:cNvSpPr/>
          <p:nvPr/>
        </p:nvSpPr>
        <p:spPr bwMode="auto">
          <a:xfrm>
            <a:off x="3084711" y="2805466"/>
            <a:ext cx="2084214" cy="33832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rPr>
              <a:t>Gradient Boosted</a:t>
            </a:r>
          </a:p>
        </p:txBody>
      </p:sp>
      <p:grpSp>
        <p:nvGrpSpPr>
          <p:cNvPr id="97" name="Group 96">
            <a:extLst>
              <a:ext uri="{FF2B5EF4-FFF2-40B4-BE49-F238E27FC236}">
                <a16:creationId xmlns:a16="http://schemas.microsoft.com/office/drawing/2014/main" id="{A5076285-431D-44B4-824C-4F8DF6C6B7A4}"/>
              </a:ext>
            </a:extLst>
          </p:cNvPr>
          <p:cNvGrpSpPr/>
          <p:nvPr/>
        </p:nvGrpSpPr>
        <p:grpSpPr>
          <a:xfrm>
            <a:off x="736222" y="2831239"/>
            <a:ext cx="1859572" cy="1345646"/>
            <a:chOff x="887982" y="2981479"/>
            <a:chExt cx="1859572" cy="1345646"/>
          </a:xfrm>
          <a:solidFill>
            <a:schemeClr val="tx2"/>
          </a:solidFill>
        </p:grpSpPr>
        <p:sp>
          <p:nvSpPr>
            <p:cNvPr id="98" name="Rectangle 97">
              <a:extLst>
                <a:ext uri="{FF2B5EF4-FFF2-40B4-BE49-F238E27FC236}">
                  <a16:creationId xmlns:a16="http://schemas.microsoft.com/office/drawing/2014/main" id="{2DB19555-5C4A-423A-81BC-6D0081323C7C}"/>
                </a:ext>
              </a:extLst>
            </p:cNvPr>
            <p:cNvSpPr/>
            <p:nvPr/>
          </p:nvSpPr>
          <p:spPr bwMode="auto">
            <a:xfrm>
              <a:off x="887982" y="2981479"/>
              <a:ext cx="1859572" cy="29546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rPr>
                <a:t>Mileage</a:t>
              </a:r>
            </a:p>
          </p:txBody>
        </p:sp>
        <p:sp>
          <p:nvSpPr>
            <p:cNvPr id="99" name="Rectangle 98">
              <a:extLst>
                <a:ext uri="{FF2B5EF4-FFF2-40B4-BE49-F238E27FC236}">
                  <a16:creationId xmlns:a16="http://schemas.microsoft.com/office/drawing/2014/main" id="{71FE8245-9253-4C95-833E-F8CE7A73D919}"/>
                </a:ext>
              </a:extLst>
            </p:cNvPr>
            <p:cNvSpPr/>
            <p:nvPr/>
          </p:nvSpPr>
          <p:spPr bwMode="auto">
            <a:xfrm>
              <a:off x="887982" y="3681363"/>
              <a:ext cx="1859572" cy="29546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rPr>
                <a:t>Car brand</a:t>
              </a:r>
            </a:p>
          </p:txBody>
        </p:sp>
        <p:sp>
          <p:nvSpPr>
            <p:cNvPr id="103" name="Rectangle 102">
              <a:extLst>
                <a:ext uri="{FF2B5EF4-FFF2-40B4-BE49-F238E27FC236}">
                  <a16:creationId xmlns:a16="http://schemas.microsoft.com/office/drawing/2014/main" id="{A5C9A6E2-03E2-4179-B9E9-43BE2661A750}"/>
                </a:ext>
              </a:extLst>
            </p:cNvPr>
            <p:cNvSpPr/>
            <p:nvPr/>
          </p:nvSpPr>
          <p:spPr bwMode="auto">
            <a:xfrm>
              <a:off x="887982" y="4031659"/>
              <a:ext cx="1859572" cy="29546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rPr>
                <a:t>Year of make</a:t>
              </a:r>
            </a:p>
          </p:txBody>
        </p:sp>
      </p:grpSp>
      <p:grpSp>
        <p:nvGrpSpPr>
          <p:cNvPr id="82" name="Group 81">
            <a:extLst>
              <a:ext uri="{FF2B5EF4-FFF2-40B4-BE49-F238E27FC236}">
                <a16:creationId xmlns:a16="http://schemas.microsoft.com/office/drawing/2014/main" id="{112BEC75-D81D-4186-8772-659189043A0B}"/>
              </a:ext>
            </a:extLst>
          </p:cNvPr>
          <p:cNvGrpSpPr/>
          <p:nvPr/>
        </p:nvGrpSpPr>
        <p:grpSpPr>
          <a:xfrm>
            <a:off x="736222" y="3181181"/>
            <a:ext cx="1859572" cy="995704"/>
            <a:chOff x="887982" y="3331421"/>
            <a:chExt cx="1859572" cy="995704"/>
          </a:xfrm>
          <a:solidFill>
            <a:schemeClr val="tx2"/>
          </a:solidFill>
        </p:grpSpPr>
        <p:sp>
          <p:nvSpPr>
            <p:cNvPr id="87" name="Rectangle 86">
              <a:extLst>
                <a:ext uri="{FF2B5EF4-FFF2-40B4-BE49-F238E27FC236}">
                  <a16:creationId xmlns:a16="http://schemas.microsoft.com/office/drawing/2014/main" id="{893B809B-6138-4491-82C4-842FA4297CF5}"/>
                </a:ext>
              </a:extLst>
            </p:cNvPr>
            <p:cNvSpPr/>
            <p:nvPr/>
          </p:nvSpPr>
          <p:spPr bwMode="auto">
            <a:xfrm>
              <a:off x="887982" y="3681363"/>
              <a:ext cx="1859572" cy="29546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rPr>
                <a:t>Car brand</a:t>
              </a:r>
            </a:p>
          </p:txBody>
        </p:sp>
        <p:sp>
          <p:nvSpPr>
            <p:cNvPr id="88" name="Rectangle 87">
              <a:extLst>
                <a:ext uri="{FF2B5EF4-FFF2-40B4-BE49-F238E27FC236}">
                  <a16:creationId xmlns:a16="http://schemas.microsoft.com/office/drawing/2014/main" id="{F10017AA-64D2-4E65-84D5-C84A8DD03586}"/>
                </a:ext>
              </a:extLst>
            </p:cNvPr>
            <p:cNvSpPr/>
            <p:nvPr/>
          </p:nvSpPr>
          <p:spPr bwMode="auto">
            <a:xfrm>
              <a:off x="887982" y="4031659"/>
              <a:ext cx="1859572" cy="29546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rPr>
                <a:t>Year of make</a:t>
              </a:r>
            </a:p>
          </p:txBody>
        </p:sp>
        <p:sp>
          <p:nvSpPr>
            <p:cNvPr id="89" name="Rectangle 88">
              <a:extLst>
                <a:ext uri="{FF2B5EF4-FFF2-40B4-BE49-F238E27FC236}">
                  <a16:creationId xmlns:a16="http://schemas.microsoft.com/office/drawing/2014/main" id="{EF5445C5-73C5-489C-9D10-B4969B450FE9}"/>
                </a:ext>
              </a:extLst>
            </p:cNvPr>
            <p:cNvSpPr/>
            <p:nvPr/>
          </p:nvSpPr>
          <p:spPr bwMode="auto">
            <a:xfrm>
              <a:off x="887982" y="3331421"/>
              <a:ext cx="1859572" cy="29546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rPr>
                <a:t>Condition</a:t>
              </a:r>
            </a:p>
          </p:txBody>
        </p:sp>
      </p:grpSp>
      <p:grpSp>
        <p:nvGrpSpPr>
          <p:cNvPr id="81" name="Group 80">
            <a:extLst>
              <a:ext uri="{FF2B5EF4-FFF2-40B4-BE49-F238E27FC236}">
                <a16:creationId xmlns:a16="http://schemas.microsoft.com/office/drawing/2014/main" id="{ACF85DC9-5BD9-4A30-A0F4-9AD7F813FBBF}"/>
              </a:ext>
            </a:extLst>
          </p:cNvPr>
          <p:cNvGrpSpPr/>
          <p:nvPr/>
        </p:nvGrpSpPr>
        <p:grpSpPr>
          <a:xfrm>
            <a:off x="7295059" y="4281370"/>
            <a:ext cx="1450614" cy="147002"/>
            <a:chOff x="8120217" y="3558128"/>
            <a:chExt cx="1940664" cy="147002"/>
          </a:xfrm>
        </p:grpSpPr>
        <p:cxnSp>
          <p:nvCxnSpPr>
            <p:cNvPr id="86" name="Straight Connector 85">
              <a:extLst>
                <a:ext uri="{FF2B5EF4-FFF2-40B4-BE49-F238E27FC236}">
                  <a16:creationId xmlns:a16="http://schemas.microsoft.com/office/drawing/2014/main" id="{FD831044-E06F-46BE-B791-C4588AA8B0FD}"/>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6673CF05-855A-42F6-B8B4-6815B4183A86}"/>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91" name="Group 90">
              <a:extLst>
                <a:ext uri="{FF2B5EF4-FFF2-40B4-BE49-F238E27FC236}">
                  <a16:creationId xmlns:a16="http://schemas.microsoft.com/office/drawing/2014/main" id="{70EB13C6-CB43-4DFB-ACBA-BA73ADB8BA5A}"/>
                </a:ext>
              </a:extLst>
            </p:cNvPr>
            <p:cNvGrpSpPr/>
            <p:nvPr/>
          </p:nvGrpSpPr>
          <p:grpSpPr>
            <a:xfrm>
              <a:off x="8335846" y="3595364"/>
              <a:ext cx="1509402" cy="109766"/>
              <a:chOff x="8335846" y="3502450"/>
              <a:chExt cx="1509402" cy="202679"/>
            </a:xfrm>
          </p:grpSpPr>
          <p:cxnSp>
            <p:nvCxnSpPr>
              <p:cNvPr id="92" name="Straight Connector 91">
                <a:extLst>
                  <a:ext uri="{FF2B5EF4-FFF2-40B4-BE49-F238E27FC236}">
                    <a16:creationId xmlns:a16="http://schemas.microsoft.com/office/drawing/2014/main" id="{36177D08-0A16-4664-BCEF-F8466BAA5189}"/>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B8327A26-4063-4476-A929-43C18A757171}"/>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1135E53D-F0C8-4E22-A844-588BEFBD2306}"/>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687D8D64-1156-4C04-AC90-9AFA7DFFD56F}"/>
                  </a:ext>
                </a:extLst>
              </p:cNvPr>
              <p:cNvCxnSpPr>
                <a:cxnSpLocks/>
              </p:cNvCxnSpPr>
              <p:nvPr/>
            </p:nvCxnSpPr>
            <p:spPr>
              <a:xfrm flipV="1">
                <a:off x="8982733" y="3502450"/>
                <a:ext cx="0" cy="20267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A1925A22-FA2D-4017-A757-00855BF459B8}"/>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FF5EC524-7BB5-43E7-8A12-AB79994538B1}"/>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E4FFD033-D313-436C-B4DD-4B40BA2517DF}"/>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B6C3F520-E24D-45F8-8BA0-3C8FC04BB182}"/>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104" name="Isosceles Triangle 103">
            <a:extLst>
              <a:ext uri="{FF2B5EF4-FFF2-40B4-BE49-F238E27FC236}">
                <a16:creationId xmlns:a16="http://schemas.microsoft.com/office/drawing/2014/main" id="{6445037D-370B-4B1F-84C2-A80D4B35AC29}"/>
              </a:ext>
            </a:extLst>
          </p:cNvPr>
          <p:cNvSpPr/>
          <p:nvPr/>
        </p:nvSpPr>
        <p:spPr bwMode="auto">
          <a:xfrm>
            <a:off x="8193551" y="4336929"/>
            <a:ext cx="137160" cy="9144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 name="Title 2">
            <a:extLst>
              <a:ext uri="{FF2B5EF4-FFF2-40B4-BE49-F238E27FC236}">
                <a16:creationId xmlns:a16="http://schemas.microsoft.com/office/drawing/2014/main" id="{3DF5360C-C4EC-49A0-BB88-FBEFC680A57F}"/>
              </a:ext>
            </a:extLst>
          </p:cNvPr>
          <p:cNvSpPr>
            <a:spLocks noGrp="1"/>
          </p:cNvSpPr>
          <p:nvPr>
            <p:ph type="title"/>
          </p:nvPr>
        </p:nvSpPr>
        <p:spPr>
          <a:xfrm>
            <a:off x="735754" y="339959"/>
            <a:ext cx="11128895" cy="1107996"/>
          </a:xfrm>
        </p:spPr>
        <p:txBody>
          <a:bodyPr>
            <a:noAutofit/>
          </a:bodyPr>
          <a:lstStyle/>
          <a:p>
            <a:r>
              <a:rPr lang="en-US">
                <a:latin typeface="Segoe UI Light" panose="020B0502040204020203" pitchFamily="34" charset="0"/>
                <a:cs typeface="Segoe UI Light" panose="020B0502040204020203" pitchFamily="34" charset="0"/>
              </a:rPr>
              <a:t>Model Creation Is Typically Time-Consuming</a:t>
            </a:r>
          </a:p>
        </p:txBody>
      </p:sp>
    </p:spTree>
    <p:extLst>
      <p:ext uri="{BB962C8B-B14F-4D97-AF65-F5344CB8AC3E}">
        <p14:creationId xmlns:p14="http://schemas.microsoft.com/office/powerpoint/2010/main" val="2185587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afterEffect">
                                  <p:stCondLst>
                                    <p:cond delay="0"/>
                                  </p:stCondLst>
                                  <p:childTnLst>
                                    <p:set>
                                      <p:cBhvr>
                                        <p:cTn id="6" dur="1" fill="hold">
                                          <p:stCondLst>
                                            <p:cond delay="0"/>
                                          </p:stCondLst>
                                        </p:cTn>
                                        <p:tgtEl>
                                          <p:spTgt spid="77"/>
                                        </p:tgtEl>
                                        <p:attrNameLst>
                                          <p:attrName>style.visibility</p:attrName>
                                        </p:attrNameLst>
                                      </p:cBhvr>
                                      <p:to>
                                        <p:strVal val="visible"/>
                                      </p:to>
                                    </p:set>
                                    <p:animEffect transition="in" filter="wipe(right)">
                                      <p:cBhvr>
                                        <p:cTn id="7" dur="1000"/>
                                        <p:tgtEl>
                                          <p:spTgt spid="77"/>
                                        </p:tgtEl>
                                      </p:cBhvr>
                                    </p:animEffect>
                                  </p:childTnLst>
                                </p:cTn>
                              </p:par>
                              <p:par>
                                <p:cTn id="8" presetID="42" presetClass="path" presetSubtype="0" accel="50000" decel="50000" fill="hold" grpId="0" nodeType="withEffect">
                                  <p:stCondLst>
                                    <p:cond delay="0"/>
                                  </p:stCondLst>
                                  <p:childTnLst>
                                    <p:animMotion origin="layout" path="M 1.04167E-6 4.44444E-6 L 0.14284 -0.20348 " pathEditMode="relative" rAng="0" ptsTypes="AA">
                                      <p:cBhvr>
                                        <p:cTn id="9" dur="750" fill="hold"/>
                                        <p:tgtEl>
                                          <p:spTgt spid="80"/>
                                        </p:tgtEl>
                                        <p:attrNameLst>
                                          <p:attrName>ppt_x</p:attrName>
                                          <p:attrName>ppt_y</p:attrName>
                                        </p:attrNameLst>
                                      </p:cBhvr>
                                      <p:rCtr x="7135" y="-10185"/>
                                    </p:animMotion>
                                  </p:childTnLst>
                                </p:cTn>
                              </p:par>
                            </p:childTnLst>
                          </p:cTn>
                        </p:par>
                        <p:par>
                          <p:cTn id="10" fill="hold">
                            <p:stCondLst>
                              <p:cond delay="1000"/>
                            </p:stCondLst>
                            <p:childTnLst>
                              <p:par>
                                <p:cTn id="11" presetID="10" presetClass="entr" presetSubtype="0" fill="hold" nodeType="afterEffect">
                                  <p:stCondLst>
                                    <p:cond delay="250"/>
                                  </p:stCondLst>
                                  <p:childTnLst>
                                    <p:set>
                                      <p:cBhvr>
                                        <p:cTn id="12" dur="1" fill="hold">
                                          <p:stCondLst>
                                            <p:cond delay="0"/>
                                          </p:stCondLst>
                                        </p:cTn>
                                        <p:tgtEl>
                                          <p:spTgt spid="82"/>
                                        </p:tgtEl>
                                        <p:attrNameLst>
                                          <p:attrName>style.visibility</p:attrName>
                                        </p:attrNameLst>
                                      </p:cBhvr>
                                      <p:to>
                                        <p:strVal val="visible"/>
                                      </p:to>
                                    </p:set>
                                    <p:animEffect transition="in" filter="fade">
                                      <p:cBhvr>
                                        <p:cTn id="13" dur="500"/>
                                        <p:tgtEl>
                                          <p:spTgt spid="82"/>
                                        </p:tgtEl>
                                      </p:cBhvr>
                                    </p:animEffect>
                                  </p:childTnLst>
                                </p:cTn>
                              </p:par>
                            </p:childTnLst>
                          </p:cTn>
                        </p:par>
                        <p:par>
                          <p:cTn id="14" fill="hold">
                            <p:stCondLst>
                              <p:cond delay="1750"/>
                            </p:stCondLst>
                            <p:childTnLst>
                              <p:par>
                                <p:cTn id="15" presetID="22" presetClass="entr" presetSubtype="1" fill="hold" grpId="0" nodeType="after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wipe(up)">
                                      <p:cBhvr>
                                        <p:cTn id="17" dur="500"/>
                                        <p:tgtEl>
                                          <p:spTgt spid="12"/>
                                        </p:tgtEl>
                                      </p:cBhvr>
                                    </p:animEffect>
                                  </p:childTnLst>
                                </p:cTn>
                              </p:par>
                              <p:par>
                                <p:cTn id="18" presetID="22" presetClass="exit" presetSubtype="1" fill="hold" grpId="0" nodeType="withEffect">
                                  <p:stCondLst>
                                    <p:cond delay="0"/>
                                  </p:stCondLst>
                                  <p:childTnLst>
                                    <p:animEffect transition="out" filter="wipe(up)">
                                      <p:cBhvr>
                                        <p:cTn id="19" dur="500"/>
                                        <p:tgtEl>
                                          <p:spTgt spid="83"/>
                                        </p:tgtEl>
                                      </p:cBhvr>
                                    </p:animEffect>
                                    <p:set>
                                      <p:cBhvr>
                                        <p:cTn id="20" dur="1" fill="hold">
                                          <p:stCondLst>
                                            <p:cond delay="499"/>
                                          </p:stCondLst>
                                        </p:cTn>
                                        <p:tgtEl>
                                          <p:spTgt spid="83"/>
                                        </p:tgtEl>
                                        <p:attrNameLst>
                                          <p:attrName>style.visibility</p:attrName>
                                        </p:attrNameLst>
                                      </p:cBhvr>
                                      <p:to>
                                        <p:strVal val="hidden"/>
                                      </p:to>
                                    </p:set>
                                  </p:childTnLst>
                                </p:cTn>
                              </p:par>
                              <p:par>
                                <p:cTn id="21" presetID="10" presetClass="entr" presetSubtype="0" fill="hold" grpId="0" nodeType="withEffect">
                                  <p:stCondLst>
                                    <p:cond delay="0"/>
                                  </p:stCondLst>
                                  <p:childTnLst>
                                    <p:set>
                                      <p:cBhvr>
                                        <p:cTn id="22" dur="1" fill="hold">
                                          <p:stCondLst>
                                            <p:cond delay="0"/>
                                          </p:stCondLst>
                                        </p:cTn>
                                        <p:tgtEl>
                                          <p:spTgt spid="84"/>
                                        </p:tgtEl>
                                        <p:attrNameLst>
                                          <p:attrName>style.visibility</p:attrName>
                                        </p:attrNameLst>
                                      </p:cBhvr>
                                      <p:to>
                                        <p:strVal val="visible"/>
                                      </p:to>
                                    </p:set>
                                    <p:animEffect transition="in" filter="fade">
                                      <p:cBhvr>
                                        <p:cTn id="23" dur="500"/>
                                        <p:tgtEl>
                                          <p:spTgt spid="84"/>
                                        </p:tgtEl>
                                      </p:cBhvr>
                                    </p:animEffect>
                                  </p:childTnLst>
                                </p:cTn>
                              </p:par>
                              <p:par>
                                <p:cTn id="24" presetID="10" presetClass="exit" presetSubtype="0" fill="hold" grpId="0" nodeType="withEffect">
                                  <p:stCondLst>
                                    <p:cond delay="0"/>
                                  </p:stCondLst>
                                  <p:childTnLst>
                                    <p:animEffect transition="out" filter="fade">
                                      <p:cBhvr>
                                        <p:cTn id="25" dur="500"/>
                                        <p:tgtEl>
                                          <p:spTgt spid="13"/>
                                        </p:tgtEl>
                                      </p:cBhvr>
                                    </p:animEffect>
                                    <p:set>
                                      <p:cBhvr>
                                        <p:cTn id="26" dur="1" fill="hold">
                                          <p:stCondLst>
                                            <p:cond delay="499"/>
                                          </p:stCondLst>
                                        </p:cTn>
                                        <p:tgtEl>
                                          <p:spTgt spid="13"/>
                                        </p:tgtEl>
                                        <p:attrNameLst>
                                          <p:attrName>style.visibility</p:attrName>
                                        </p:attrNameLst>
                                      </p:cBhvr>
                                      <p:to>
                                        <p:strVal val="hidden"/>
                                      </p:to>
                                    </p:set>
                                  </p:childTnLst>
                                </p:cTn>
                              </p:par>
                            </p:childTnLst>
                          </p:cTn>
                        </p:par>
                        <p:par>
                          <p:cTn id="27" fill="hold">
                            <p:stCondLst>
                              <p:cond delay="2250"/>
                            </p:stCondLst>
                            <p:childTnLst>
                              <p:par>
                                <p:cTn id="28" presetID="63" presetClass="path" presetSubtype="0" accel="24000" decel="50000" fill="hold" grpId="0" nodeType="afterEffect">
                                  <p:stCondLst>
                                    <p:cond delay="0"/>
                                  </p:stCondLst>
                                  <p:childTnLst>
                                    <p:animMotion origin="layout" path="M 4.58333E-6 3.7037E-6 L -0.05287 3.7037E-6 " pathEditMode="relative" rAng="0" ptsTypes="AA">
                                      <p:cBhvr>
                                        <p:cTn id="29" dur="750" fill="hold"/>
                                        <p:tgtEl>
                                          <p:spTgt spid="66"/>
                                        </p:tgtEl>
                                        <p:attrNameLst>
                                          <p:attrName>ppt_x</p:attrName>
                                          <p:attrName>ppt_y</p:attrName>
                                        </p:attrNameLst>
                                      </p:cBhvr>
                                      <p:rCtr x="-2643" y="0"/>
                                    </p:animMotion>
                                  </p:childTnLst>
                                </p:cTn>
                              </p:par>
                              <p:par>
                                <p:cTn id="30" presetID="63" presetClass="path" presetSubtype="0" accel="24000" decel="50000" fill="hold" grpId="0" nodeType="withEffect">
                                  <p:stCondLst>
                                    <p:cond delay="0"/>
                                  </p:stCondLst>
                                  <p:childTnLst>
                                    <p:animMotion origin="layout" path="M -1.25E-6 -3.33333E-6 L 0.07904 -3.33333E-6 " pathEditMode="relative" rAng="0" ptsTypes="AA">
                                      <p:cBhvr>
                                        <p:cTn id="31" dur="750" fill="hold"/>
                                        <p:tgtEl>
                                          <p:spTgt spid="67"/>
                                        </p:tgtEl>
                                        <p:attrNameLst>
                                          <p:attrName>ppt_x</p:attrName>
                                          <p:attrName>ppt_y</p:attrName>
                                        </p:attrNameLst>
                                      </p:cBhvr>
                                      <p:rCtr x="3945" y="0"/>
                                    </p:animMotion>
                                  </p:childTnLst>
                                </p:cTn>
                              </p:par>
                              <p:par>
                                <p:cTn id="32" presetID="63" presetClass="path" presetSubtype="0" accel="50000" decel="50000" fill="hold" grpId="0" nodeType="withEffect">
                                  <p:stCondLst>
                                    <p:cond delay="0"/>
                                  </p:stCondLst>
                                  <p:childTnLst>
                                    <p:animMotion origin="layout" path="M -1.04167E-6 -3.7037E-7 L 0.0138 -3.7037E-7 " pathEditMode="relative" rAng="0" ptsTypes="AA">
                                      <p:cBhvr>
                                        <p:cTn id="33" dur="750" fill="hold"/>
                                        <p:tgtEl>
                                          <p:spTgt spid="68"/>
                                        </p:tgtEl>
                                        <p:attrNameLst>
                                          <p:attrName>ppt_x</p:attrName>
                                          <p:attrName>ppt_y</p:attrName>
                                        </p:attrNameLst>
                                      </p:cBhvr>
                                      <p:rCtr x="690" y="0"/>
                                    </p:animMotion>
                                  </p:childTnLst>
                                </p:cTn>
                              </p:par>
                              <p:par>
                                <p:cTn id="34" presetID="63" presetClass="path" presetSubtype="0" accel="24000" decel="50000" fill="hold" grpId="0" nodeType="withEffect">
                                  <p:stCondLst>
                                    <p:cond delay="0"/>
                                  </p:stCondLst>
                                  <p:childTnLst>
                                    <p:animMotion origin="layout" path="M 1.25E-6 2.59259E-6 L 0.06667 2.59259E-6 " pathEditMode="relative" rAng="0" ptsTypes="AA">
                                      <p:cBhvr>
                                        <p:cTn id="35" dur="750" fill="hold"/>
                                        <p:tgtEl>
                                          <p:spTgt spid="69"/>
                                        </p:tgtEl>
                                        <p:attrNameLst>
                                          <p:attrName>ppt_x</p:attrName>
                                          <p:attrName>ppt_y</p:attrName>
                                        </p:attrNameLst>
                                      </p:cBhvr>
                                      <p:rCtr x="3333" y="0"/>
                                    </p:animMotion>
                                  </p:childTnLst>
                                </p:cTn>
                              </p:par>
                              <p:par>
                                <p:cTn id="36" presetID="63" presetClass="path" presetSubtype="0" accel="24000" decel="50000" fill="hold" grpId="0" nodeType="withEffect">
                                  <p:stCondLst>
                                    <p:cond delay="0"/>
                                  </p:stCondLst>
                                  <p:childTnLst>
                                    <p:animMotion origin="layout" path="M -4.16667E-6 -3.7037E-7 L 0.02709 -3.7037E-7 " pathEditMode="relative" rAng="0" ptsTypes="AA">
                                      <p:cBhvr>
                                        <p:cTn id="37" dur="750" fill="hold"/>
                                        <p:tgtEl>
                                          <p:spTgt spid="104"/>
                                        </p:tgtEl>
                                        <p:attrNameLst>
                                          <p:attrName>ppt_x</p:attrName>
                                          <p:attrName>ppt_y</p:attrName>
                                        </p:attrNameLst>
                                      </p:cBhvr>
                                      <p:rCtr x="1354" y="0"/>
                                    </p:animMotion>
                                  </p:childTnLst>
                                </p:cTn>
                              </p:par>
                            </p:childTnLst>
                          </p:cTn>
                        </p:par>
                        <p:par>
                          <p:cTn id="38" fill="hold">
                            <p:stCondLst>
                              <p:cond delay="3000"/>
                            </p:stCondLst>
                            <p:childTnLst>
                              <p:par>
                                <p:cTn id="39" presetID="22" presetClass="entr" presetSubtype="8" fill="hold" grpId="0" nodeType="afterEffect">
                                  <p:stCondLst>
                                    <p:cond delay="0"/>
                                  </p:stCondLst>
                                  <p:childTnLst>
                                    <p:set>
                                      <p:cBhvr>
                                        <p:cTn id="40" dur="1" fill="hold">
                                          <p:stCondLst>
                                            <p:cond delay="0"/>
                                          </p:stCondLst>
                                        </p:cTn>
                                        <p:tgtEl>
                                          <p:spTgt spid="73"/>
                                        </p:tgtEl>
                                        <p:attrNameLst>
                                          <p:attrName>style.visibility</p:attrName>
                                        </p:attrNameLst>
                                      </p:cBhvr>
                                      <p:to>
                                        <p:strVal val="visible"/>
                                      </p:to>
                                    </p:set>
                                    <p:animEffect transition="in" filter="wipe(left)">
                                      <p:cBhvr>
                                        <p:cTn id="41" dur="500"/>
                                        <p:tgtEl>
                                          <p:spTgt spid="73"/>
                                        </p:tgtEl>
                                      </p:cBhvr>
                                    </p:animEffect>
                                  </p:childTnLst>
                                </p:cTn>
                              </p:par>
                              <p:par>
                                <p:cTn id="42" presetID="22" presetClass="entr" presetSubtype="8" fill="hold" grpId="0" nodeType="withEffect">
                                  <p:stCondLst>
                                    <p:cond delay="0"/>
                                  </p:stCondLst>
                                  <p:childTnLst>
                                    <p:set>
                                      <p:cBhvr>
                                        <p:cTn id="43" dur="1" fill="hold">
                                          <p:stCondLst>
                                            <p:cond delay="0"/>
                                          </p:stCondLst>
                                        </p:cTn>
                                        <p:tgtEl>
                                          <p:spTgt spid="74"/>
                                        </p:tgtEl>
                                        <p:attrNameLst>
                                          <p:attrName>style.visibility</p:attrName>
                                        </p:attrNameLst>
                                      </p:cBhvr>
                                      <p:to>
                                        <p:strVal val="visible"/>
                                      </p:to>
                                    </p:set>
                                    <p:animEffect transition="in" filter="wipe(left)">
                                      <p:cBhvr>
                                        <p:cTn id="44" dur="500"/>
                                        <p:tgtEl>
                                          <p:spTgt spid="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84" grpId="0"/>
      <p:bldP spid="12" grpId="0" animBg="1"/>
      <p:bldP spid="66" grpId="0" animBg="1"/>
      <p:bldP spid="67" grpId="0" animBg="1"/>
      <p:bldP spid="68" grpId="0" animBg="1"/>
      <p:bldP spid="69" grpId="0" animBg="1"/>
      <p:bldP spid="73" grpId="0" animBg="1"/>
      <p:bldP spid="74" grpId="0"/>
      <p:bldP spid="80" grpId="0" animBg="1"/>
      <p:bldP spid="83" grpId="0" animBg="1"/>
      <p:bldP spid="104"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D8AE1ED-2270-4A61-B841-2FB66EFCD65D}"/>
              </a:ext>
            </a:extLst>
          </p:cNvPr>
          <p:cNvGrpSpPr/>
          <p:nvPr/>
        </p:nvGrpSpPr>
        <p:grpSpPr>
          <a:xfrm>
            <a:off x="5884446" y="3044537"/>
            <a:ext cx="1450614" cy="1505382"/>
            <a:chOff x="5884446" y="3044537"/>
            <a:chExt cx="1450614" cy="1505382"/>
          </a:xfrm>
        </p:grpSpPr>
        <p:grpSp>
          <p:nvGrpSpPr>
            <p:cNvPr id="37" name="Group 36">
              <a:extLst>
                <a:ext uri="{FF2B5EF4-FFF2-40B4-BE49-F238E27FC236}">
                  <a16:creationId xmlns:a16="http://schemas.microsoft.com/office/drawing/2014/main" id="{A995BB77-5A05-41A6-9266-9ADBB2F88266}"/>
                </a:ext>
              </a:extLst>
            </p:cNvPr>
            <p:cNvGrpSpPr/>
            <p:nvPr/>
          </p:nvGrpSpPr>
          <p:grpSpPr>
            <a:xfrm>
              <a:off x="5884446" y="3044537"/>
              <a:ext cx="1450614" cy="147003"/>
              <a:chOff x="8120217" y="3558128"/>
              <a:chExt cx="1940664" cy="147003"/>
            </a:xfrm>
          </p:grpSpPr>
          <p:cxnSp>
            <p:nvCxnSpPr>
              <p:cNvPr id="38" name="Straight Connector 37">
                <a:extLst>
                  <a:ext uri="{FF2B5EF4-FFF2-40B4-BE49-F238E27FC236}">
                    <a16:creationId xmlns:a16="http://schemas.microsoft.com/office/drawing/2014/main" id="{A2C03983-943E-4E59-8383-78832CD2E20F}"/>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CFA1416-A1B0-46EB-AA53-BA421B3A6A62}"/>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40" name="Group 39">
                <a:extLst>
                  <a:ext uri="{FF2B5EF4-FFF2-40B4-BE49-F238E27FC236}">
                    <a16:creationId xmlns:a16="http://schemas.microsoft.com/office/drawing/2014/main" id="{63FEEBB4-CF81-4A62-A145-6BB88C917CEF}"/>
                  </a:ext>
                </a:extLst>
              </p:cNvPr>
              <p:cNvGrpSpPr/>
              <p:nvPr/>
            </p:nvGrpSpPr>
            <p:grpSpPr>
              <a:xfrm>
                <a:off x="8335846" y="3593256"/>
                <a:ext cx="1509402" cy="111875"/>
                <a:chOff x="8335846" y="3498555"/>
                <a:chExt cx="1509402" cy="206573"/>
              </a:xfrm>
            </p:grpSpPr>
            <p:cxnSp>
              <p:nvCxnSpPr>
                <p:cNvPr id="41" name="Straight Connector 40">
                  <a:extLst>
                    <a:ext uri="{FF2B5EF4-FFF2-40B4-BE49-F238E27FC236}">
                      <a16:creationId xmlns:a16="http://schemas.microsoft.com/office/drawing/2014/main" id="{ABE1743D-D1F2-43E7-B341-1A20A333C275}"/>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2C39D94C-F515-4933-9AF5-4B2CFA4290EE}"/>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DEC3DB11-A16E-4FA3-81C1-F37D64614F79}"/>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2901AC9C-3A65-48E6-8B46-C286C1AB0A94}"/>
                    </a:ext>
                  </a:extLst>
                </p:cNvPr>
                <p:cNvCxnSpPr>
                  <a:cxnSpLocks/>
                </p:cNvCxnSpPr>
                <p:nvPr/>
              </p:nvCxnSpPr>
              <p:spPr>
                <a:xfrm flipV="1">
                  <a:off x="8982733" y="3498555"/>
                  <a:ext cx="0" cy="206573"/>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F4013FE-06AA-432A-B791-C38C54872705}"/>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040B3E34-315A-43D8-AA4B-023448EFED54}"/>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4BC5764D-496A-4C25-8E2B-2168EE748EB2}"/>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73933A55-06DD-421E-8217-539D482A68B2}"/>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50" name="Group 49">
              <a:extLst>
                <a:ext uri="{FF2B5EF4-FFF2-40B4-BE49-F238E27FC236}">
                  <a16:creationId xmlns:a16="http://schemas.microsoft.com/office/drawing/2014/main" id="{FBC36DC7-6421-41AA-90FB-4B930E7F7699}"/>
                </a:ext>
              </a:extLst>
            </p:cNvPr>
            <p:cNvGrpSpPr/>
            <p:nvPr/>
          </p:nvGrpSpPr>
          <p:grpSpPr>
            <a:xfrm>
              <a:off x="5884446" y="3384135"/>
              <a:ext cx="1450614" cy="146999"/>
              <a:chOff x="8120217" y="3558128"/>
              <a:chExt cx="1940664" cy="146999"/>
            </a:xfrm>
          </p:grpSpPr>
          <p:cxnSp>
            <p:nvCxnSpPr>
              <p:cNvPr id="51" name="Straight Connector 50">
                <a:extLst>
                  <a:ext uri="{FF2B5EF4-FFF2-40B4-BE49-F238E27FC236}">
                    <a16:creationId xmlns:a16="http://schemas.microsoft.com/office/drawing/2014/main" id="{FF018632-D3DD-4FB4-B439-BA2DE4ECF3EB}"/>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7DA117C8-247D-4054-83E9-865713E71A63}"/>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53" name="Group 52">
                <a:extLst>
                  <a:ext uri="{FF2B5EF4-FFF2-40B4-BE49-F238E27FC236}">
                    <a16:creationId xmlns:a16="http://schemas.microsoft.com/office/drawing/2014/main" id="{2349FF8E-577E-498D-AB2F-B28E2E1BD54A}"/>
                  </a:ext>
                </a:extLst>
              </p:cNvPr>
              <p:cNvGrpSpPr/>
              <p:nvPr/>
            </p:nvGrpSpPr>
            <p:grpSpPr>
              <a:xfrm>
                <a:off x="8335846" y="3592140"/>
                <a:ext cx="1509402" cy="112986"/>
                <a:chOff x="8335846" y="3496504"/>
                <a:chExt cx="1509402" cy="208625"/>
              </a:xfrm>
            </p:grpSpPr>
            <p:cxnSp>
              <p:nvCxnSpPr>
                <p:cNvPr id="54" name="Straight Connector 53">
                  <a:extLst>
                    <a:ext uri="{FF2B5EF4-FFF2-40B4-BE49-F238E27FC236}">
                      <a16:creationId xmlns:a16="http://schemas.microsoft.com/office/drawing/2014/main" id="{2EC5FF38-6339-4622-9F80-B1FD5D7DAF8A}"/>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7F03DFD5-DB55-4A40-9412-5171EF8D1835}"/>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34710521-9101-48D4-90EE-618C4FDE2EF6}"/>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3CBB89D8-D9DB-4D62-8272-8D713528E36F}"/>
                    </a:ext>
                  </a:extLst>
                </p:cNvPr>
                <p:cNvCxnSpPr>
                  <a:cxnSpLocks/>
                </p:cNvCxnSpPr>
                <p:nvPr/>
              </p:nvCxnSpPr>
              <p:spPr>
                <a:xfrm flipV="1">
                  <a:off x="8982733" y="3496504"/>
                  <a:ext cx="0" cy="208625"/>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FB6CD139-D39D-4878-9E28-BE0C2BD8C6E2}"/>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F4A0DD67-A763-48FD-A81D-8F04147AB311}"/>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32CEBA28-FAC1-4C37-B381-EAB4830EBCE2}"/>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1FEE2D7-34CB-46DC-B3D8-70A182BA7CB6}"/>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62" name="Group 61">
              <a:extLst>
                <a:ext uri="{FF2B5EF4-FFF2-40B4-BE49-F238E27FC236}">
                  <a16:creationId xmlns:a16="http://schemas.microsoft.com/office/drawing/2014/main" id="{269E9AA7-0CA8-482A-999E-DCB9FD2B890B}"/>
                </a:ext>
              </a:extLst>
            </p:cNvPr>
            <p:cNvGrpSpPr/>
            <p:nvPr/>
          </p:nvGrpSpPr>
          <p:grpSpPr>
            <a:xfrm>
              <a:off x="5884446" y="3723729"/>
              <a:ext cx="1450614" cy="147000"/>
              <a:chOff x="8120217" y="3558128"/>
              <a:chExt cx="1940664" cy="147000"/>
            </a:xfrm>
          </p:grpSpPr>
          <p:cxnSp>
            <p:nvCxnSpPr>
              <p:cNvPr id="63" name="Straight Connector 62">
                <a:extLst>
                  <a:ext uri="{FF2B5EF4-FFF2-40B4-BE49-F238E27FC236}">
                    <a16:creationId xmlns:a16="http://schemas.microsoft.com/office/drawing/2014/main" id="{91AFD085-E71F-4890-99A1-521333659CBA}"/>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8EB1AE87-2B7B-44E9-BF9F-8CCF029CD1DD}"/>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66" name="Group 65">
                <a:extLst>
                  <a:ext uri="{FF2B5EF4-FFF2-40B4-BE49-F238E27FC236}">
                    <a16:creationId xmlns:a16="http://schemas.microsoft.com/office/drawing/2014/main" id="{4C0965D2-43FB-4D0F-81E7-FA62C2F0C0D3}"/>
                  </a:ext>
                </a:extLst>
              </p:cNvPr>
              <p:cNvGrpSpPr/>
              <p:nvPr/>
            </p:nvGrpSpPr>
            <p:grpSpPr>
              <a:xfrm>
                <a:off x="8335846" y="3593752"/>
                <a:ext cx="1509402" cy="111376"/>
                <a:chOff x="8335846" y="3499477"/>
                <a:chExt cx="1509402" cy="205652"/>
              </a:xfrm>
            </p:grpSpPr>
            <p:cxnSp>
              <p:nvCxnSpPr>
                <p:cNvPr id="67" name="Straight Connector 66">
                  <a:extLst>
                    <a:ext uri="{FF2B5EF4-FFF2-40B4-BE49-F238E27FC236}">
                      <a16:creationId xmlns:a16="http://schemas.microsoft.com/office/drawing/2014/main" id="{EC94363D-8C74-40A0-BFCB-17F1AD4F0698}"/>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A890D25-18AF-44F6-9B6F-D4F4487FF2C3}"/>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3138C371-61A1-42C9-B4A2-79F976A960C6}"/>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74EF16B2-A7B8-470E-9C44-CDF47811A560}"/>
                    </a:ext>
                  </a:extLst>
                </p:cNvPr>
                <p:cNvCxnSpPr>
                  <a:cxnSpLocks/>
                </p:cNvCxnSpPr>
                <p:nvPr/>
              </p:nvCxnSpPr>
              <p:spPr>
                <a:xfrm flipV="1">
                  <a:off x="8982733" y="3499477"/>
                  <a:ext cx="0" cy="205652"/>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FA23ABB0-200B-48EE-A948-E4F8F37FB747}"/>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B6385DD5-FF34-4167-BBD4-00747FF75FC6}"/>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87FC391A-47BA-4E02-8135-A6E71A404ACC}"/>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6BD4B48A-796E-4BBD-B449-EA0E46FBC60F}"/>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76" name="Group 75">
              <a:extLst>
                <a:ext uri="{FF2B5EF4-FFF2-40B4-BE49-F238E27FC236}">
                  <a16:creationId xmlns:a16="http://schemas.microsoft.com/office/drawing/2014/main" id="{F8B8793F-DC9E-4FC7-AD81-64D579C99EDC}"/>
                </a:ext>
              </a:extLst>
            </p:cNvPr>
            <p:cNvGrpSpPr/>
            <p:nvPr/>
          </p:nvGrpSpPr>
          <p:grpSpPr>
            <a:xfrm>
              <a:off x="5884446" y="4063323"/>
              <a:ext cx="1450614" cy="147002"/>
              <a:chOff x="8120217" y="3558128"/>
              <a:chExt cx="1940664" cy="147002"/>
            </a:xfrm>
          </p:grpSpPr>
          <p:cxnSp>
            <p:nvCxnSpPr>
              <p:cNvPr id="82" name="Straight Connector 81">
                <a:extLst>
                  <a:ext uri="{FF2B5EF4-FFF2-40B4-BE49-F238E27FC236}">
                    <a16:creationId xmlns:a16="http://schemas.microsoft.com/office/drawing/2014/main" id="{491D9C4E-1A37-4B3D-B6C5-63A81C2A777A}"/>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289FCC8D-A8D9-4D95-AA3D-2EFCC67F6C29}"/>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4" name="Group 83">
                <a:extLst>
                  <a:ext uri="{FF2B5EF4-FFF2-40B4-BE49-F238E27FC236}">
                    <a16:creationId xmlns:a16="http://schemas.microsoft.com/office/drawing/2014/main" id="{A9BFA321-5756-42FA-874C-3A83531A87B3}"/>
                  </a:ext>
                </a:extLst>
              </p:cNvPr>
              <p:cNvGrpSpPr/>
              <p:nvPr/>
            </p:nvGrpSpPr>
            <p:grpSpPr>
              <a:xfrm>
                <a:off x="8335846" y="3595364"/>
                <a:ext cx="1509402" cy="109766"/>
                <a:chOff x="8335846" y="3502450"/>
                <a:chExt cx="1509402" cy="202679"/>
              </a:xfrm>
            </p:grpSpPr>
            <p:cxnSp>
              <p:nvCxnSpPr>
                <p:cNvPr id="85" name="Straight Connector 84">
                  <a:extLst>
                    <a:ext uri="{FF2B5EF4-FFF2-40B4-BE49-F238E27FC236}">
                      <a16:creationId xmlns:a16="http://schemas.microsoft.com/office/drawing/2014/main" id="{65AD5B74-1B00-45C4-B604-AAA31870CB40}"/>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3C850950-BA30-47D6-9490-154EC1104819}"/>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292F841C-1B25-438E-9FF8-005F5F97D414}"/>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C7ACCF32-A9CE-483B-95B1-4F68EBFC981D}"/>
                    </a:ext>
                  </a:extLst>
                </p:cNvPr>
                <p:cNvCxnSpPr>
                  <a:cxnSpLocks/>
                </p:cNvCxnSpPr>
                <p:nvPr/>
              </p:nvCxnSpPr>
              <p:spPr>
                <a:xfrm flipV="1">
                  <a:off x="8982733" y="3502450"/>
                  <a:ext cx="0" cy="20267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D4FB3800-9155-4E5F-AF1E-F31284551263}"/>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602CA657-BE4B-4048-9C8A-8BB682F42557}"/>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99F36F5E-8B54-4B75-BCF9-C1D53DF4BE74}"/>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7D904617-8559-4E41-BC9D-3E4881C0D034}"/>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105" name="Group 104">
              <a:extLst>
                <a:ext uri="{FF2B5EF4-FFF2-40B4-BE49-F238E27FC236}">
                  <a16:creationId xmlns:a16="http://schemas.microsoft.com/office/drawing/2014/main" id="{4264AE4F-C5AC-4148-B274-D99ABD4D60D6}"/>
                </a:ext>
              </a:extLst>
            </p:cNvPr>
            <p:cNvGrpSpPr/>
            <p:nvPr/>
          </p:nvGrpSpPr>
          <p:grpSpPr>
            <a:xfrm>
              <a:off x="5884446" y="4402917"/>
              <a:ext cx="1450614" cy="147002"/>
              <a:chOff x="8120217" y="3558128"/>
              <a:chExt cx="1940664" cy="147002"/>
            </a:xfrm>
          </p:grpSpPr>
          <p:cxnSp>
            <p:nvCxnSpPr>
              <p:cNvPr id="106" name="Straight Connector 105">
                <a:extLst>
                  <a:ext uri="{FF2B5EF4-FFF2-40B4-BE49-F238E27FC236}">
                    <a16:creationId xmlns:a16="http://schemas.microsoft.com/office/drawing/2014/main" id="{BEFF23A2-946C-4BAD-8E6B-7812762ACDD5}"/>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F9B64E9A-3596-4F19-9B91-6E0E6F82DF0F}"/>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08" name="Group 107">
                <a:extLst>
                  <a:ext uri="{FF2B5EF4-FFF2-40B4-BE49-F238E27FC236}">
                    <a16:creationId xmlns:a16="http://schemas.microsoft.com/office/drawing/2014/main" id="{AEF420FF-3ED7-4F4B-848D-720ED8C39485}"/>
                  </a:ext>
                </a:extLst>
              </p:cNvPr>
              <p:cNvGrpSpPr/>
              <p:nvPr/>
            </p:nvGrpSpPr>
            <p:grpSpPr>
              <a:xfrm>
                <a:off x="8335846" y="3595364"/>
                <a:ext cx="1509402" cy="109766"/>
                <a:chOff x="8335846" y="3502450"/>
                <a:chExt cx="1509402" cy="202679"/>
              </a:xfrm>
            </p:grpSpPr>
            <p:cxnSp>
              <p:nvCxnSpPr>
                <p:cNvPr id="112" name="Straight Connector 111">
                  <a:extLst>
                    <a:ext uri="{FF2B5EF4-FFF2-40B4-BE49-F238E27FC236}">
                      <a16:creationId xmlns:a16="http://schemas.microsoft.com/office/drawing/2014/main" id="{D6AF544E-ADDF-4260-8FBC-56810DB4448D}"/>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C9177729-9337-4D34-946B-DFE4481F5E46}"/>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8B5F39E7-EF92-481F-B897-34DA903E2595}"/>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73BDB3AA-CDE0-4C62-B51C-DC1F3A0E5CC8}"/>
                    </a:ext>
                  </a:extLst>
                </p:cNvPr>
                <p:cNvCxnSpPr>
                  <a:cxnSpLocks/>
                </p:cNvCxnSpPr>
                <p:nvPr/>
              </p:nvCxnSpPr>
              <p:spPr>
                <a:xfrm flipV="1">
                  <a:off x="8982733" y="3502450"/>
                  <a:ext cx="0" cy="20267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F67783E9-C504-4723-9867-5BFA3F01AFD6}"/>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48A591B9-6BAE-442B-9699-3B4856913C06}"/>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A8AEBBB1-E1D2-423E-8C80-D660D7BF9FC7}"/>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82DBB156-D4D6-4F2B-BB8D-63740E75D9C6}"/>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sp>
        <p:nvSpPr>
          <p:cNvPr id="136" name="Rectangle 135">
            <a:extLst>
              <a:ext uri="{FF2B5EF4-FFF2-40B4-BE49-F238E27FC236}">
                <a16:creationId xmlns:a16="http://schemas.microsoft.com/office/drawing/2014/main" id="{B876C16E-02E3-49C5-B773-9B262EC0EB00}"/>
              </a:ext>
            </a:extLst>
          </p:cNvPr>
          <p:cNvSpPr/>
          <p:nvPr/>
        </p:nvSpPr>
        <p:spPr bwMode="auto">
          <a:xfrm>
            <a:off x="3090134" y="2809506"/>
            <a:ext cx="2078783" cy="32014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endParaRPr>
          </a:p>
        </p:txBody>
      </p:sp>
      <p:sp>
        <p:nvSpPr>
          <p:cNvPr id="147" name="Rectangle 146">
            <a:extLst>
              <a:ext uri="{FF2B5EF4-FFF2-40B4-BE49-F238E27FC236}">
                <a16:creationId xmlns:a16="http://schemas.microsoft.com/office/drawing/2014/main" id="{AF6BECDC-1136-474D-AD57-07C750BD7A6D}"/>
              </a:ext>
            </a:extLst>
          </p:cNvPr>
          <p:cNvSpPr/>
          <p:nvPr/>
        </p:nvSpPr>
        <p:spPr bwMode="auto">
          <a:xfrm>
            <a:off x="3090134" y="3511941"/>
            <a:ext cx="2078783" cy="3293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endParaRPr>
          </a:p>
        </p:txBody>
      </p:sp>
      <p:sp>
        <p:nvSpPr>
          <p:cNvPr id="148" name="Rectangle 147">
            <a:extLst>
              <a:ext uri="{FF2B5EF4-FFF2-40B4-BE49-F238E27FC236}">
                <a16:creationId xmlns:a16="http://schemas.microsoft.com/office/drawing/2014/main" id="{781F9281-CBE0-4766-9CEB-2F25D7221217}"/>
              </a:ext>
            </a:extLst>
          </p:cNvPr>
          <p:cNvSpPr/>
          <p:nvPr/>
        </p:nvSpPr>
        <p:spPr bwMode="auto">
          <a:xfrm>
            <a:off x="3090134" y="3867747"/>
            <a:ext cx="2078783" cy="3293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endParaRPr>
          </a:p>
        </p:txBody>
      </p:sp>
      <p:sp>
        <p:nvSpPr>
          <p:cNvPr id="149" name="Rectangle 148">
            <a:extLst>
              <a:ext uri="{FF2B5EF4-FFF2-40B4-BE49-F238E27FC236}">
                <a16:creationId xmlns:a16="http://schemas.microsoft.com/office/drawing/2014/main" id="{446FD518-64A8-443E-85DA-D36BBF1E57EC}"/>
              </a:ext>
            </a:extLst>
          </p:cNvPr>
          <p:cNvSpPr/>
          <p:nvPr/>
        </p:nvSpPr>
        <p:spPr bwMode="auto">
          <a:xfrm>
            <a:off x="3090134" y="4223555"/>
            <a:ext cx="2078783" cy="3293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endParaRPr>
          </a:p>
        </p:txBody>
      </p:sp>
      <p:sp>
        <p:nvSpPr>
          <p:cNvPr id="150" name="Rectangle 149">
            <a:extLst>
              <a:ext uri="{FF2B5EF4-FFF2-40B4-BE49-F238E27FC236}">
                <a16:creationId xmlns:a16="http://schemas.microsoft.com/office/drawing/2014/main" id="{76003EBD-BBD0-43A8-ACD9-097C9F3C2F52}"/>
              </a:ext>
            </a:extLst>
          </p:cNvPr>
          <p:cNvSpPr/>
          <p:nvPr/>
        </p:nvSpPr>
        <p:spPr bwMode="auto">
          <a:xfrm>
            <a:off x="3090134" y="3156135"/>
            <a:ext cx="2078783" cy="3293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endParaRPr>
          </a:p>
        </p:txBody>
      </p:sp>
      <p:sp>
        <p:nvSpPr>
          <p:cNvPr id="33" name="Rectangle 32">
            <a:extLst>
              <a:ext uri="{FF2B5EF4-FFF2-40B4-BE49-F238E27FC236}">
                <a16:creationId xmlns:a16="http://schemas.microsoft.com/office/drawing/2014/main" id="{E85050E8-530B-48B8-8D30-6B4189AAC40C}"/>
              </a:ext>
            </a:extLst>
          </p:cNvPr>
          <p:cNvSpPr/>
          <p:nvPr/>
        </p:nvSpPr>
        <p:spPr bwMode="auto">
          <a:xfrm>
            <a:off x="3084709" y="2268043"/>
            <a:ext cx="2211940" cy="3416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Which algorithm?</a:t>
            </a:r>
          </a:p>
        </p:txBody>
      </p:sp>
      <p:sp>
        <p:nvSpPr>
          <p:cNvPr id="42" name="Rectangle 41">
            <a:extLst>
              <a:ext uri="{FF2B5EF4-FFF2-40B4-BE49-F238E27FC236}">
                <a16:creationId xmlns:a16="http://schemas.microsoft.com/office/drawing/2014/main" id="{8DFBE1EA-D672-4BA2-8AC5-8F9258F9AE8E}"/>
              </a:ext>
            </a:extLst>
          </p:cNvPr>
          <p:cNvSpPr/>
          <p:nvPr/>
        </p:nvSpPr>
        <p:spPr bwMode="auto">
          <a:xfrm>
            <a:off x="5577476" y="2268043"/>
            <a:ext cx="2410588" cy="3416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panose="020B0702040204020203" pitchFamily="34" charset="0"/>
                <a:ea typeface="Segoe UI" pitchFamily="34" charset="0"/>
                <a:cs typeface="Segoe UI Semibold" panose="020B0702040204020203" pitchFamily="34" charset="0"/>
              </a:rPr>
              <a:t>Which parameters?</a:t>
            </a:r>
          </a:p>
        </p:txBody>
      </p:sp>
      <p:sp>
        <p:nvSpPr>
          <p:cNvPr id="29" name="Rectangle 28">
            <a:extLst>
              <a:ext uri="{FF2B5EF4-FFF2-40B4-BE49-F238E27FC236}">
                <a16:creationId xmlns:a16="http://schemas.microsoft.com/office/drawing/2014/main" id="{22EE7413-F083-4FA4-B233-0BE9A60054A1}"/>
              </a:ext>
            </a:extLst>
          </p:cNvPr>
          <p:cNvSpPr/>
          <p:nvPr/>
        </p:nvSpPr>
        <p:spPr bwMode="auto">
          <a:xfrm>
            <a:off x="735582" y="2268043"/>
            <a:ext cx="2068299" cy="3416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panose="020B0702040204020203" pitchFamily="34" charset="0"/>
                <a:ea typeface="Segoe UI" pitchFamily="34" charset="0"/>
                <a:cs typeface="Segoe UI Semibold" panose="020B0702040204020203" pitchFamily="34" charset="0"/>
              </a:rPr>
              <a:t>Which features?</a:t>
            </a:r>
          </a:p>
        </p:txBody>
      </p:sp>
      <p:sp>
        <p:nvSpPr>
          <p:cNvPr id="75" name="Diamond 3">
            <a:extLst>
              <a:ext uri="{FF2B5EF4-FFF2-40B4-BE49-F238E27FC236}">
                <a16:creationId xmlns:a16="http://schemas.microsoft.com/office/drawing/2014/main" id="{59BED6B8-E637-4542-88C4-C688B7867D90}"/>
              </a:ext>
            </a:extLst>
          </p:cNvPr>
          <p:cNvSpPr/>
          <p:nvPr/>
        </p:nvSpPr>
        <p:spPr bwMode="auto">
          <a:xfrm>
            <a:off x="8982518" y="2767649"/>
            <a:ext cx="323919" cy="2410590"/>
          </a:xfrm>
          <a:custGeom>
            <a:avLst/>
            <a:gdLst>
              <a:gd name="connsiteX0" fmla="*/ 0 w 594505"/>
              <a:gd name="connsiteY0" fmla="*/ 509452 h 1018903"/>
              <a:gd name="connsiteX1" fmla="*/ 297253 w 594505"/>
              <a:gd name="connsiteY1" fmla="*/ 0 h 1018903"/>
              <a:gd name="connsiteX2" fmla="*/ 594505 w 594505"/>
              <a:gd name="connsiteY2" fmla="*/ 509452 h 1018903"/>
              <a:gd name="connsiteX3" fmla="*/ 297253 w 594505"/>
              <a:gd name="connsiteY3" fmla="*/ 1018903 h 1018903"/>
              <a:gd name="connsiteX4" fmla="*/ 0 w 594505"/>
              <a:gd name="connsiteY4" fmla="*/ 509452 h 1018903"/>
              <a:gd name="connsiteX0" fmla="*/ 0 w 594505"/>
              <a:gd name="connsiteY0" fmla="*/ 509452 h 1018903"/>
              <a:gd name="connsiteX1" fmla="*/ 297253 w 594505"/>
              <a:gd name="connsiteY1" fmla="*/ 0 h 1018903"/>
              <a:gd name="connsiteX2" fmla="*/ 594505 w 594505"/>
              <a:gd name="connsiteY2" fmla="*/ 509452 h 1018903"/>
              <a:gd name="connsiteX3" fmla="*/ 297253 w 594505"/>
              <a:gd name="connsiteY3" fmla="*/ 1018903 h 1018903"/>
              <a:gd name="connsiteX4" fmla="*/ 91440 w 594505"/>
              <a:gd name="connsiteY4" fmla="*/ 600892 h 1018903"/>
              <a:gd name="connsiteX0" fmla="*/ 0 w 594505"/>
              <a:gd name="connsiteY0" fmla="*/ 509452 h 1018903"/>
              <a:gd name="connsiteX1" fmla="*/ 297253 w 594505"/>
              <a:gd name="connsiteY1" fmla="*/ 0 h 1018903"/>
              <a:gd name="connsiteX2" fmla="*/ 594505 w 594505"/>
              <a:gd name="connsiteY2" fmla="*/ 509452 h 1018903"/>
              <a:gd name="connsiteX3" fmla="*/ 297253 w 594505"/>
              <a:gd name="connsiteY3" fmla="*/ 1018903 h 1018903"/>
              <a:gd name="connsiteX0" fmla="*/ 0 w 297252"/>
              <a:gd name="connsiteY0" fmla="*/ 0 h 1018903"/>
              <a:gd name="connsiteX1" fmla="*/ 297252 w 297252"/>
              <a:gd name="connsiteY1" fmla="*/ 509452 h 1018903"/>
              <a:gd name="connsiteX2" fmla="*/ 0 w 297252"/>
              <a:gd name="connsiteY2" fmla="*/ 1018903 h 1018903"/>
            </a:gdLst>
            <a:ahLst/>
            <a:cxnLst>
              <a:cxn ang="0">
                <a:pos x="connsiteX0" y="connsiteY0"/>
              </a:cxn>
              <a:cxn ang="0">
                <a:pos x="connsiteX1" y="connsiteY1"/>
              </a:cxn>
              <a:cxn ang="0">
                <a:pos x="connsiteX2" y="connsiteY2"/>
              </a:cxn>
            </a:cxnLst>
            <a:rect l="l" t="t" r="r" b="b"/>
            <a:pathLst>
              <a:path w="297252" h="1018903">
                <a:moveTo>
                  <a:pt x="0" y="0"/>
                </a:moveTo>
                <a:lnTo>
                  <a:pt x="297252" y="509452"/>
                </a:lnTo>
                <a:lnTo>
                  <a:pt x="0" y="1018903"/>
                </a:lnTo>
              </a:path>
            </a:pathLst>
          </a:custGeom>
          <a:ln w="12700">
            <a:solidFill>
              <a:schemeClr val="tx2"/>
            </a:solidFill>
            <a:headEnd type="none"/>
            <a:tailEnd type="none"/>
          </a:ln>
        </p:spPr>
        <p:style>
          <a:lnRef idx="1">
            <a:schemeClr val="accent4"/>
          </a:lnRef>
          <a:fillRef idx="0">
            <a:schemeClr val="accent4"/>
          </a:fillRef>
          <a:effectRef idx="0">
            <a:schemeClr val="accent4"/>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 name="Rectangle 79">
            <a:extLst>
              <a:ext uri="{FF2B5EF4-FFF2-40B4-BE49-F238E27FC236}">
                <a16:creationId xmlns:a16="http://schemas.microsoft.com/office/drawing/2014/main" id="{6C1DA2B4-1C0E-4041-B2C8-AE1DBE888000}"/>
              </a:ext>
            </a:extLst>
          </p:cNvPr>
          <p:cNvSpPr/>
          <p:nvPr/>
        </p:nvSpPr>
        <p:spPr bwMode="auto">
          <a:xfrm>
            <a:off x="9571685" y="3749348"/>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50%</a:t>
            </a:r>
          </a:p>
        </p:txBody>
      </p:sp>
      <p:sp>
        <p:nvSpPr>
          <p:cNvPr id="81" name="Rectangle 80">
            <a:extLst>
              <a:ext uri="{FF2B5EF4-FFF2-40B4-BE49-F238E27FC236}">
                <a16:creationId xmlns:a16="http://schemas.microsoft.com/office/drawing/2014/main" id="{5843B82D-D9A4-4766-8C2A-684A866EB0F0}"/>
              </a:ext>
            </a:extLst>
          </p:cNvPr>
          <p:cNvSpPr/>
          <p:nvPr/>
        </p:nvSpPr>
        <p:spPr bwMode="auto">
          <a:xfrm>
            <a:off x="11310201" y="2353818"/>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30%</a:t>
            </a:r>
          </a:p>
        </p:txBody>
      </p:sp>
      <p:sp>
        <p:nvSpPr>
          <p:cNvPr id="90" name="Rectangle 89">
            <a:extLst>
              <a:ext uri="{FF2B5EF4-FFF2-40B4-BE49-F238E27FC236}">
                <a16:creationId xmlns:a16="http://schemas.microsoft.com/office/drawing/2014/main" id="{9E12CE79-1D28-42FF-A8D2-F17C5397AD4B}"/>
              </a:ext>
            </a:extLst>
          </p:cNvPr>
          <p:cNvSpPr/>
          <p:nvPr/>
        </p:nvSpPr>
        <p:spPr bwMode="auto">
          <a:xfrm>
            <a:off x="9571685" y="3749348"/>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70%</a:t>
            </a:r>
          </a:p>
        </p:txBody>
      </p:sp>
      <p:sp>
        <p:nvSpPr>
          <p:cNvPr id="91" name="Rectangle 90">
            <a:extLst>
              <a:ext uri="{FF2B5EF4-FFF2-40B4-BE49-F238E27FC236}">
                <a16:creationId xmlns:a16="http://schemas.microsoft.com/office/drawing/2014/main" id="{2C0B2D7F-DABA-4CF5-986F-41239206EBA7}"/>
              </a:ext>
            </a:extLst>
          </p:cNvPr>
          <p:cNvSpPr/>
          <p:nvPr/>
        </p:nvSpPr>
        <p:spPr bwMode="auto">
          <a:xfrm>
            <a:off x="9571685" y="3749348"/>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30%</a:t>
            </a:r>
          </a:p>
        </p:txBody>
      </p:sp>
      <p:sp>
        <p:nvSpPr>
          <p:cNvPr id="123" name="Rectangle 122">
            <a:extLst>
              <a:ext uri="{FF2B5EF4-FFF2-40B4-BE49-F238E27FC236}">
                <a16:creationId xmlns:a16="http://schemas.microsoft.com/office/drawing/2014/main" id="{C138F34D-E681-4EC2-A776-620ACB5B2ADA}"/>
              </a:ext>
            </a:extLst>
          </p:cNvPr>
          <p:cNvSpPr/>
          <p:nvPr/>
        </p:nvSpPr>
        <p:spPr bwMode="auto">
          <a:xfrm>
            <a:off x="9571685" y="3749348"/>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45%</a:t>
            </a:r>
          </a:p>
        </p:txBody>
      </p:sp>
      <p:sp>
        <p:nvSpPr>
          <p:cNvPr id="137" name="Rectangle 136">
            <a:extLst>
              <a:ext uri="{FF2B5EF4-FFF2-40B4-BE49-F238E27FC236}">
                <a16:creationId xmlns:a16="http://schemas.microsoft.com/office/drawing/2014/main" id="{C2BBE4FC-909C-4345-B6B7-CD98E0800549}"/>
              </a:ext>
            </a:extLst>
          </p:cNvPr>
          <p:cNvSpPr/>
          <p:nvPr/>
        </p:nvSpPr>
        <p:spPr bwMode="auto">
          <a:xfrm>
            <a:off x="9571685" y="3749348"/>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50%</a:t>
            </a:r>
          </a:p>
        </p:txBody>
      </p:sp>
      <p:sp>
        <p:nvSpPr>
          <p:cNvPr id="138" name="Rectangle 137">
            <a:extLst>
              <a:ext uri="{FF2B5EF4-FFF2-40B4-BE49-F238E27FC236}">
                <a16:creationId xmlns:a16="http://schemas.microsoft.com/office/drawing/2014/main" id="{E5DC31E9-1B38-490E-97B1-396F5BC8BD37}"/>
              </a:ext>
            </a:extLst>
          </p:cNvPr>
          <p:cNvSpPr/>
          <p:nvPr/>
        </p:nvSpPr>
        <p:spPr bwMode="auto">
          <a:xfrm>
            <a:off x="9571685" y="3749348"/>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65%</a:t>
            </a:r>
          </a:p>
        </p:txBody>
      </p:sp>
      <p:sp>
        <p:nvSpPr>
          <p:cNvPr id="139" name="Rectangle 138">
            <a:extLst>
              <a:ext uri="{FF2B5EF4-FFF2-40B4-BE49-F238E27FC236}">
                <a16:creationId xmlns:a16="http://schemas.microsoft.com/office/drawing/2014/main" id="{38AE8513-E5E7-4164-8B0A-DCBE47A37897}"/>
              </a:ext>
            </a:extLst>
          </p:cNvPr>
          <p:cNvSpPr/>
          <p:nvPr/>
        </p:nvSpPr>
        <p:spPr bwMode="auto">
          <a:xfrm>
            <a:off x="9571685" y="3749348"/>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95%</a:t>
            </a:r>
          </a:p>
        </p:txBody>
      </p:sp>
      <p:sp>
        <p:nvSpPr>
          <p:cNvPr id="140" name="Rectangle 139">
            <a:extLst>
              <a:ext uri="{FF2B5EF4-FFF2-40B4-BE49-F238E27FC236}">
                <a16:creationId xmlns:a16="http://schemas.microsoft.com/office/drawing/2014/main" id="{B6105E7D-98D4-444D-AAC0-1B90A43BA286}"/>
              </a:ext>
            </a:extLst>
          </p:cNvPr>
          <p:cNvSpPr/>
          <p:nvPr/>
        </p:nvSpPr>
        <p:spPr bwMode="auto">
          <a:xfrm>
            <a:off x="9571685" y="3749348"/>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35%</a:t>
            </a:r>
          </a:p>
        </p:txBody>
      </p:sp>
      <p:sp>
        <p:nvSpPr>
          <p:cNvPr id="141" name="Rectangle 140">
            <a:extLst>
              <a:ext uri="{FF2B5EF4-FFF2-40B4-BE49-F238E27FC236}">
                <a16:creationId xmlns:a16="http://schemas.microsoft.com/office/drawing/2014/main" id="{35207BB3-4EC0-47BD-9F49-6F6AC0CE2C82}"/>
              </a:ext>
            </a:extLst>
          </p:cNvPr>
          <p:cNvSpPr/>
          <p:nvPr/>
        </p:nvSpPr>
        <p:spPr bwMode="auto">
          <a:xfrm>
            <a:off x="9571685" y="3749348"/>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10%</a:t>
            </a:r>
          </a:p>
        </p:txBody>
      </p:sp>
      <p:sp>
        <p:nvSpPr>
          <p:cNvPr id="142" name="Rectangle 141">
            <a:extLst>
              <a:ext uri="{FF2B5EF4-FFF2-40B4-BE49-F238E27FC236}">
                <a16:creationId xmlns:a16="http://schemas.microsoft.com/office/drawing/2014/main" id="{A5FBACE0-802F-4F71-94F2-248DEFE1A4CA}"/>
              </a:ext>
            </a:extLst>
          </p:cNvPr>
          <p:cNvSpPr/>
          <p:nvPr/>
        </p:nvSpPr>
        <p:spPr bwMode="auto">
          <a:xfrm>
            <a:off x="9571685" y="3749348"/>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75%</a:t>
            </a:r>
          </a:p>
        </p:txBody>
      </p:sp>
      <p:sp>
        <p:nvSpPr>
          <p:cNvPr id="143" name="Rectangle 142">
            <a:extLst>
              <a:ext uri="{FF2B5EF4-FFF2-40B4-BE49-F238E27FC236}">
                <a16:creationId xmlns:a16="http://schemas.microsoft.com/office/drawing/2014/main" id="{2EE1EEEC-9147-48AC-AA51-F7D7C757720A}"/>
              </a:ext>
            </a:extLst>
          </p:cNvPr>
          <p:cNvSpPr/>
          <p:nvPr/>
        </p:nvSpPr>
        <p:spPr bwMode="auto">
          <a:xfrm>
            <a:off x="9571685" y="3749348"/>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20%</a:t>
            </a:r>
          </a:p>
        </p:txBody>
      </p:sp>
      <p:sp>
        <p:nvSpPr>
          <p:cNvPr id="144" name="Rectangle 143">
            <a:extLst>
              <a:ext uri="{FF2B5EF4-FFF2-40B4-BE49-F238E27FC236}">
                <a16:creationId xmlns:a16="http://schemas.microsoft.com/office/drawing/2014/main" id="{715BD311-5C47-4D16-84A4-CDE3875B2E28}"/>
              </a:ext>
            </a:extLst>
          </p:cNvPr>
          <p:cNvSpPr/>
          <p:nvPr/>
        </p:nvSpPr>
        <p:spPr bwMode="auto">
          <a:xfrm>
            <a:off x="9571685" y="3749348"/>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70%</a:t>
            </a:r>
          </a:p>
        </p:txBody>
      </p:sp>
      <p:sp>
        <p:nvSpPr>
          <p:cNvPr id="145" name="Rectangle 144">
            <a:extLst>
              <a:ext uri="{FF2B5EF4-FFF2-40B4-BE49-F238E27FC236}">
                <a16:creationId xmlns:a16="http://schemas.microsoft.com/office/drawing/2014/main" id="{5FCC3BB9-011E-43E2-8A6D-CF0B434AEC47}"/>
              </a:ext>
            </a:extLst>
          </p:cNvPr>
          <p:cNvSpPr/>
          <p:nvPr/>
        </p:nvSpPr>
        <p:spPr bwMode="auto">
          <a:xfrm>
            <a:off x="9571685" y="3749348"/>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30%</a:t>
            </a:r>
          </a:p>
        </p:txBody>
      </p:sp>
      <p:sp>
        <p:nvSpPr>
          <p:cNvPr id="146" name="Rectangle 145">
            <a:extLst>
              <a:ext uri="{FF2B5EF4-FFF2-40B4-BE49-F238E27FC236}">
                <a16:creationId xmlns:a16="http://schemas.microsoft.com/office/drawing/2014/main" id="{2E0AC568-B569-4102-91A1-BD4739EF7142}"/>
              </a:ext>
            </a:extLst>
          </p:cNvPr>
          <p:cNvSpPr/>
          <p:nvPr/>
        </p:nvSpPr>
        <p:spPr bwMode="auto">
          <a:xfrm>
            <a:off x="9571685" y="3749348"/>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15%</a:t>
            </a:r>
          </a:p>
        </p:txBody>
      </p:sp>
      <p:grpSp>
        <p:nvGrpSpPr>
          <p:cNvPr id="26" name="Group 25">
            <a:extLst>
              <a:ext uri="{FF2B5EF4-FFF2-40B4-BE49-F238E27FC236}">
                <a16:creationId xmlns:a16="http://schemas.microsoft.com/office/drawing/2014/main" id="{630C095D-36FC-4EBB-8DEE-D3469ACDD9BD}"/>
              </a:ext>
            </a:extLst>
          </p:cNvPr>
          <p:cNvGrpSpPr/>
          <p:nvPr/>
        </p:nvGrpSpPr>
        <p:grpSpPr>
          <a:xfrm>
            <a:off x="588264" y="5680406"/>
            <a:ext cx="8661068" cy="663526"/>
            <a:chOff x="837632" y="5844616"/>
            <a:chExt cx="9792001" cy="663526"/>
          </a:xfrm>
        </p:grpSpPr>
        <p:cxnSp>
          <p:nvCxnSpPr>
            <p:cNvPr id="27" name="Connector: Elbow 26">
              <a:extLst>
                <a:ext uri="{FF2B5EF4-FFF2-40B4-BE49-F238E27FC236}">
                  <a16:creationId xmlns:a16="http://schemas.microsoft.com/office/drawing/2014/main" id="{D6DBBF17-7678-4E03-A750-D716BF7D3406}"/>
                </a:ext>
              </a:extLst>
            </p:cNvPr>
            <p:cNvCxnSpPr>
              <a:cxnSpLocks/>
            </p:cNvCxnSpPr>
            <p:nvPr/>
          </p:nvCxnSpPr>
          <p:spPr>
            <a:xfrm rot="5400000">
              <a:off x="5727283" y="954965"/>
              <a:ext cx="12700" cy="9792001"/>
            </a:xfrm>
            <a:prstGeom prst="bentConnector3">
              <a:avLst>
                <a:gd name="adj1" fmla="val 2170835"/>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29C9708C-5222-4249-BB52-52E83A8D83AC}"/>
                </a:ext>
              </a:extLst>
            </p:cNvPr>
            <p:cNvSpPr/>
            <p:nvPr/>
          </p:nvSpPr>
          <p:spPr bwMode="auto">
            <a:xfrm>
              <a:off x="5160653" y="6221910"/>
              <a:ext cx="1145960" cy="2862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panose="020B0702040204020203" pitchFamily="34" charset="0"/>
                  <a:ea typeface="Segoe UI" pitchFamily="34" charset="0"/>
                  <a:cs typeface="Segoe UI Semibold" panose="020B0702040204020203" pitchFamily="34" charset="0"/>
                </a:rPr>
                <a:t>Iterate</a:t>
              </a:r>
            </a:p>
          </p:txBody>
        </p:sp>
      </p:grpSp>
      <p:sp>
        <p:nvSpPr>
          <p:cNvPr id="98" name="Isosceles Triangle 97">
            <a:extLst>
              <a:ext uri="{FF2B5EF4-FFF2-40B4-BE49-F238E27FC236}">
                <a16:creationId xmlns:a16="http://schemas.microsoft.com/office/drawing/2014/main" id="{FE4ADEB3-BA1A-4527-97B6-E7A5905F8282}"/>
              </a:ext>
            </a:extLst>
          </p:cNvPr>
          <p:cNvSpPr/>
          <p:nvPr/>
        </p:nvSpPr>
        <p:spPr bwMode="auto">
          <a:xfrm>
            <a:off x="6293870" y="4119222"/>
            <a:ext cx="137160" cy="9144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1" name="Isosceles Triangle 110">
            <a:extLst>
              <a:ext uri="{FF2B5EF4-FFF2-40B4-BE49-F238E27FC236}">
                <a16:creationId xmlns:a16="http://schemas.microsoft.com/office/drawing/2014/main" id="{DC995B4C-717D-4215-9C84-59A63A08436E}"/>
              </a:ext>
            </a:extLst>
          </p:cNvPr>
          <p:cNvSpPr/>
          <p:nvPr/>
        </p:nvSpPr>
        <p:spPr bwMode="auto">
          <a:xfrm>
            <a:off x="6460577" y="3779967"/>
            <a:ext cx="137160" cy="9144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 name="Isosceles Triangle 123">
            <a:extLst>
              <a:ext uri="{FF2B5EF4-FFF2-40B4-BE49-F238E27FC236}">
                <a16:creationId xmlns:a16="http://schemas.microsoft.com/office/drawing/2014/main" id="{D97260E6-C543-4A04-8701-4A7AD6348720}"/>
              </a:ext>
            </a:extLst>
          </p:cNvPr>
          <p:cNvSpPr/>
          <p:nvPr/>
        </p:nvSpPr>
        <p:spPr bwMode="auto">
          <a:xfrm>
            <a:off x="6944117" y="3101457"/>
            <a:ext cx="137160" cy="9144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5" name="Isosceles Triangle 124">
            <a:extLst>
              <a:ext uri="{FF2B5EF4-FFF2-40B4-BE49-F238E27FC236}">
                <a16:creationId xmlns:a16="http://schemas.microsoft.com/office/drawing/2014/main" id="{084B5AF6-26A2-4842-A41A-6E0C87018759}"/>
              </a:ext>
            </a:extLst>
          </p:cNvPr>
          <p:cNvSpPr/>
          <p:nvPr/>
        </p:nvSpPr>
        <p:spPr bwMode="auto">
          <a:xfrm>
            <a:off x="7103941" y="3440712"/>
            <a:ext cx="137160" cy="9144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4" name="Rectangle 163">
            <a:extLst>
              <a:ext uri="{FF2B5EF4-FFF2-40B4-BE49-F238E27FC236}">
                <a16:creationId xmlns:a16="http://schemas.microsoft.com/office/drawing/2014/main" id="{7ADB0596-0969-46D3-8F50-F5A45D799A8E}"/>
              </a:ext>
            </a:extLst>
          </p:cNvPr>
          <p:cNvSpPr/>
          <p:nvPr/>
        </p:nvSpPr>
        <p:spPr bwMode="auto">
          <a:xfrm>
            <a:off x="736222" y="4231007"/>
            <a:ext cx="1859572" cy="29546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endParaRPr>
          </a:p>
        </p:txBody>
      </p:sp>
      <p:sp>
        <p:nvSpPr>
          <p:cNvPr id="171" name="Rectangle 170">
            <a:extLst>
              <a:ext uri="{FF2B5EF4-FFF2-40B4-BE49-F238E27FC236}">
                <a16:creationId xmlns:a16="http://schemas.microsoft.com/office/drawing/2014/main" id="{FA033DC2-8489-4D03-B39C-76377D071DF5}"/>
              </a:ext>
            </a:extLst>
          </p:cNvPr>
          <p:cNvSpPr/>
          <p:nvPr/>
        </p:nvSpPr>
        <p:spPr bwMode="auto">
          <a:xfrm>
            <a:off x="736222" y="3181181"/>
            <a:ext cx="1859572" cy="29546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endParaRPr>
          </a:p>
        </p:txBody>
      </p:sp>
      <p:sp>
        <p:nvSpPr>
          <p:cNvPr id="173" name="Rectangle 172">
            <a:extLst>
              <a:ext uri="{FF2B5EF4-FFF2-40B4-BE49-F238E27FC236}">
                <a16:creationId xmlns:a16="http://schemas.microsoft.com/office/drawing/2014/main" id="{7465687A-7138-457A-AD69-9EA44E77B92B}"/>
              </a:ext>
            </a:extLst>
          </p:cNvPr>
          <p:cNvSpPr/>
          <p:nvPr/>
        </p:nvSpPr>
        <p:spPr bwMode="auto">
          <a:xfrm>
            <a:off x="736222" y="2831239"/>
            <a:ext cx="1859572" cy="29546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endParaRPr>
          </a:p>
        </p:txBody>
      </p:sp>
      <p:sp>
        <p:nvSpPr>
          <p:cNvPr id="174" name="Rectangle 173">
            <a:extLst>
              <a:ext uri="{FF2B5EF4-FFF2-40B4-BE49-F238E27FC236}">
                <a16:creationId xmlns:a16="http://schemas.microsoft.com/office/drawing/2014/main" id="{3ECF9070-C95C-4AEE-9B8E-522305BBBDAB}"/>
              </a:ext>
            </a:extLst>
          </p:cNvPr>
          <p:cNvSpPr/>
          <p:nvPr/>
        </p:nvSpPr>
        <p:spPr bwMode="auto">
          <a:xfrm>
            <a:off x="736222" y="3531123"/>
            <a:ext cx="1859572" cy="29546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endParaRPr>
          </a:p>
        </p:txBody>
      </p:sp>
      <p:sp>
        <p:nvSpPr>
          <p:cNvPr id="175" name="Rectangle 174">
            <a:extLst>
              <a:ext uri="{FF2B5EF4-FFF2-40B4-BE49-F238E27FC236}">
                <a16:creationId xmlns:a16="http://schemas.microsoft.com/office/drawing/2014/main" id="{AEFA5C18-DBD6-420E-8D38-357F8C70808D}"/>
              </a:ext>
            </a:extLst>
          </p:cNvPr>
          <p:cNvSpPr/>
          <p:nvPr/>
        </p:nvSpPr>
        <p:spPr bwMode="auto">
          <a:xfrm>
            <a:off x="736222" y="3881065"/>
            <a:ext cx="1859572" cy="29546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endParaRPr>
          </a:p>
        </p:txBody>
      </p:sp>
      <p:sp>
        <p:nvSpPr>
          <p:cNvPr id="120" name="Isosceles Triangle 119">
            <a:extLst>
              <a:ext uri="{FF2B5EF4-FFF2-40B4-BE49-F238E27FC236}">
                <a16:creationId xmlns:a16="http://schemas.microsoft.com/office/drawing/2014/main" id="{064EFD16-9865-43CE-AAC0-7320880D3E2A}"/>
              </a:ext>
            </a:extLst>
          </p:cNvPr>
          <p:cNvSpPr/>
          <p:nvPr/>
        </p:nvSpPr>
        <p:spPr bwMode="auto">
          <a:xfrm>
            <a:off x="6779933" y="4458475"/>
            <a:ext cx="137160" cy="9144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 name="Title 2">
            <a:extLst>
              <a:ext uri="{FF2B5EF4-FFF2-40B4-BE49-F238E27FC236}">
                <a16:creationId xmlns:a16="http://schemas.microsoft.com/office/drawing/2014/main" id="{339B2FDB-D916-4CFB-88D9-3ED899EB3A28}"/>
              </a:ext>
            </a:extLst>
          </p:cNvPr>
          <p:cNvSpPr>
            <a:spLocks noGrp="1"/>
          </p:cNvSpPr>
          <p:nvPr>
            <p:ph type="title"/>
          </p:nvPr>
        </p:nvSpPr>
        <p:spPr>
          <a:xfrm>
            <a:off x="735754" y="339959"/>
            <a:ext cx="11128895" cy="1107996"/>
          </a:xfrm>
        </p:spPr>
        <p:txBody>
          <a:bodyPr>
            <a:noAutofit/>
          </a:bodyPr>
          <a:lstStyle/>
          <a:p>
            <a:r>
              <a:rPr lang="en-US">
                <a:latin typeface="Segoe UI Light" panose="020B0502040204020203" pitchFamily="34" charset="0"/>
                <a:cs typeface="Segoe UI Light" panose="020B0502040204020203" pitchFamily="34" charset="0"/>
              </a:rPr>
              <a:t>Model Creation Is Typically Time-Consuming</a:t>
            </a:r>
          </a:p>
        </p:txBody>
      </p:sp>
    </p:spTree>
    <p:extLst>
      <p:ext uri="{BB962C8B-B14F-4D97-AF65-F5344CB8AC3E}">
        <p14:creationId xmlns:p14="http://schemas.microsoft.com/office/powerpoint/2010/main" val="3060502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50000" decel="50000" fill="hold" grpId="0" nodeType="afterEffect">
                                  <p:stCondLst>
                                    <p:cond delay="0"/>
                                  </p:stCondLst>
                                  <p:childTnLst>
                                    <p:animMotion origin="layout" path="M 1.04167E-6 -2.59259E-6 L 0.14284 -0.10347 " pathEditMode="relative" rAng="0" ptsTypes="AA">
                                      <p:cBhvr>
                                        <p:cTn id="6" dur="150" fill="hold"/>
                                        <p:tgtEl>
                                          <p:spTgt spid="80"/>
                                        </p:tgtEl>
                                        <p:attrNameLst>
                                          <p:attrName>ppt_x</p:attrName>
                                          <p:attrName>ppt_y</p:attrName>
                                        </p:attrNameLst>
                                      </p:cBhvr>
                                      <p:rCtr x="7135" y="-5185"/>
                                    </p:animMotion>
                                  </p:childTnLst>
                                </p:cTn>
                              </p:par>
                              <p:par>
                                <p:cTn id="7" presetID="12" presetClass="entr" presetSubtype="8" fill="hold" grpId="1" nodeType="withEffect">
                                  <p:stCondLst>
                                    <p:cond delay="100"/>
                                  </p:stCondLst>
                                  <p:childTnLst>
                                    <p:set>
                                      <p:cBhvr>
                                        <p:cTn id="8" dur="1" fill="hold">
                                          <p:stCondLst>
                                            <p:cond delay="0"/>
                                          </p:stCondLst>
                                        </p:cTn>
                                        <p:tgtEl>
                                          <p:spTgt spid="90"/>
                                        </p:tgtEl>
                                        <p:attrNameLst>
                                          <p:attrName>style.visibility</p:attrName>
                                        </p:attrNameLst>
                                      </p:cBhvr>
                                      <p:to>
                                        <p:strVal val="visible"/>
                                      </p:to>
                                    </p:set>
                                    <p:anim calcmode="lin" valueType="num">
                                      <p:cBhvr additive="base">
                                        <p:cTn id="9" dur="80"/>
                                        <p:tgtEl>
                                          <p:spTgt spid="90"/>
                                        </p:tgtEl>
                                        <p:attrNameLst>
                                          <p:attrName>ppt_x</p:attrName>
                                        </p:attrNameLst>
                                      </p:cBhvr>
                                      <p:tavLst>
                                        <p:tav tm="0">
                                          <p:val>
                                            <p:strVal val="#ppt_x-#ppt_w*1.125000"/>
                                          </p:val>
                                        </p:tav>
                                        <p:tav tm="100000">
                                          <p:val>
                                            <p:strVal val="#ppt_x"/>
                                          </p:val>
                                        </p:tav>
                                      </p:tavLst>
                                    </p:anim>
                                    <p:animEffect transition="in" filter="wipe(right)">
                                      <p:cBhvr>
                                        <p:cTn id="10" dur="80"/>
                                        <p:tgtEl>
                                          <p:spTgt spid="90"/>
                                        </p:tgtEl>
                                      </p:cBhvr>
                                    </p:animEffect>
                                  </p:childTnLst>
                                </p:cTn>
                              </p:par>
                              <p:par>
                                <p:cTn id="11" presetID="10" presetClass="exit" presetSubtype="0" fill="hold" grpId="1" nodeType="withEffect">
                                  <p:stCondLst>
                                    <p:cond delay="100"/>
                                  </p:stCondLst>
                                  <p:childTnLst>
                                    <p:animEffect transition="out" filter="fade">
                                      <p:cBhvr>
                                        <p:cTn id="12" dur="150"/>
                                        <p:tgtEl>
                                          <p:spTgt spid="136"/>
                                        </p:tgtEl>
                                      </p:cBhvr>
                                    </p:animEffect>
                                    <p:set>
                                      <p:cBhvr>
                                        <p:cTn id="13" dur="1" fill="hold">
                                          <p:stCondLst>
                                            <p:cond delay="149"/>
                                          </p:stCondLst>
                                        </p:cTn>
                                        <p:tgtEl>
                                          <p:spTgt spid="136"/>
                                        </p:tgtEl>
                                        <p:attrNameLst>
                                          <p:attrName>style.visibility</p:attrName>
                                        </p:attrNameLst>
                                      </p:cBhvr>
                                      <p:to>
                                        <p:strVal val="hidden"/>
                                      </p:to>
                                    </p:set>
                                  </p:childTnLst>
                                </p:cTn>
                              </p:par>
                              <p:par>
                                <p:cTn id="14" presetID="10" presetClass="entr" presetSubtype="0" fill="hold" grpId="0" nodeType="withEffect">
                                  <p:stCondLst>
                                    <p:cond delay="100"/>
                                  </p:stCondLst>
                                  <p:childTnLst>
                                    <p:set>
                                      <p:cBhvr>
                                        <p:cTn id="15" dur="1" fill="hold">
                                          <p:stCondLst>
                                            <p:cond delay="0"/>
                                          </p:stCondLst>
                                        </p:cTn>
                                        <p:tgtEl>
                                          <p:spTgt spid="147"/>
                                        </p:tgtEl>
                                        <p:attrNameLst>
                                          <p:attrName>style.visibility</p:attrName>
                                        </p:attrNameLst>
                                      </p:cBhvr>
                                      <p:to>
                                        <p:strVal val="visible"/>
                                      </p:to>
                                    </p:set>
                                    <p:animEffect transition="in" filter="fade">
                                      <p:cBhvr>
                                        <p:cTn id="16" dur="150"/>
                                        <p:tgtEl>
                                          <p:spTgt spid="147"/>
                                        </p:tgtEl>
                                      </p:cBhvr>
                                    </p:animEffect>
                                  </p:childTnLst>
                                </p:cTn>
                              </p:par>
                              <p:par>
                                <p:cTn id="17" presetID="42" presetClass="path" presetSubtype="0" accel="50000" decel="50000" fill="hold" grpId="0" nodeType="withEffect">
                                  <p:stCondLst>
                                    <p:cond delay="100"/>
                                  </p:stCondLst>
                                  <p:childTnLst>
                                    <p:animMotion origin="layout" path="M 1.04167E-6 -2.59259E-6 L 0.14284 -2.59259E-6 " pathEditMode="relative" rAng="0" ptsTypes="AA">
                                      <p:cBhvr>
                                        <p:cTn id="18" dur="150" fill="hold"/>
                                        <p:tgtEl>
                                          <p:spTgt spid="90"/>
                                        </p:tgtEl>
                                        <p:attrNameLst>
                                          <p:attrName>ppt_x</p:attrName>
                                          <p:attrName>ppt_y</p:attrName>
                                        </p:attrNameLst>
                                      </p:cBhvr>
                                      <p:rCtr x="7135" y="0"/>
                                    </p:animMotion>
                                  </p:childTnLst>
                                </p:cTn>
                              </p:par>
                              <p:par>
                                <p:cTn id="19" presetID="22" presetClass="entr" presetSubtype="1" fill="hold" grpId="0" nodeType="withEffect">
                                  <p:stCondLst>
                                    <p:cond delay="100"/>
                                  </p:stCondLst>
                                  <p:childTnLst>
                                    <p:set>
                                      <p:cBhvr>
                                        <p:cTn id="20" dur="1" fill="hold">
                                          <p:stCondLst>
                                            <p:cond delay="0"/>
                                          </p:stCondLst>
                                        </p:cTn>
                                        <p:tgtEl>
                                          <p:spTgt spid="175"/>
                                        </p:tgtEl>
                                        <p:attrNameLst>
                                          <p:attrName>style.visibility</p:attrName>
                                        </p:attrNameLst>
                                      </p:cBhvr>
                                      <p:to>
                                        <p:strVal val="visible"/>
                                      </p:to>
                                    </p:set>
                                    <p:animEffect transition="in" filter="wipe(up)">
                                      <p:cBhvr>
                                        <p:cTn id="21" dur="150"/>
                                        <p:tgtEl>
                                          <p:spTgt spid="175"/>
                                        </p:tgtEl>
                                      </p:cBhvr>
                                    </p:animEffect>
                                  </p:childTnLst>
                                </p:cTn>
                              </p:par>
                              <p:par>
                                <p:cTn id="22" presetID="22" presetClass="entr" presetSubtype="1" fill="hold" grpId="0" nodeType="withEffect">
                                  <p:stCondLst>
                                    <p:cond delay="100"/>
                                  </p:stCondLst>
                                  <p:childTnLst>
                                    <p:set>
                                      <p:cBhvr>
                                        <p:cTn id="23" dur="1" fill="hold">
                                          <p:stCondLst>
                                            <p:cond delay="0"/>
                                          </p:stCondLst>
                                        </p:cTn>
                                        <p:tgtEl>
                                          <p:spTgt spid="164"/>
                                        </p:tgtEl>
                                        <p:attrNameLst>
                                          <p:attrName>style.visibility</p:attrName>
                                        </p:attrNameLst>
                                      </p:cBhvr>
                                      <p:to>
                                        <p:strVal val="visible"/>
                                      </p:to>
                                    </p:set>
                                    <p:animEffect transition="in" filter="wipe(up)">
                                      <p:cBhvr>
                                        <p:cTn id="24" dur="150"/>
                                        <p:tgtEl>
                                          <p:spTgt spid="164"/>
                                        </p:tgtEl>
                                      </p:cBhvr>
                                    </p:animEffect>
                                  </p:childTnLst>
                                </p:cTn>
                              </p:par>
                              <p:par>
                                <p:cTn id="25" presetID="22" presetClass="exit" presetSubtype="1" fill="hold" grpId="0" nodeType="withEffect">
                                  <p:stCondLst>
                                    <p:cond delay="100"/>
                                  </p:stCondLst>
                                  <p:childTnLst>
                                    <p:animEffect transition="out" filter="wipe(up)">
                                      <p:cBhvr>
                                        <p:cTn id="26" dur="150"/>
                                        <p:tgtEl>
                                          <p:spTgt spid="173"/>
                                        </p:tgtEl>
                                      </p:cBhvr>
                                    </p:animEffect>
                                    <p:set>
                                      <p:cBhvr>
                                        <p:cTn id="27" dur="1" fill="hold">
                                          <p:stCondLst>
                                            <p:cond delay="149"/>
                                          </p:stCondLst>
                                        </p:cTn>
                                        <p:tgtEl>
                                          <p:spTgt spid="173"/>
                                        </p:tgtEl>
                                        <p:attrNameLst>
                                          <p:attrName>style.visibility</p:attrName>
                                        </p:attrNameLst>
                                      </p:cBhvr>
                                      <p:to>
                                        <p:strVal val="hidden"/>
                                      </p:to>
                                    </p:set>
                                  </p:childTnLst>
                                </p:cTn>
                              </p:par>
                              <p:par>
                                <p:cTn id="28" presetID="12" presetClass="entr" presetSubtype="8" fill="hold" grpId="1" nodeType="withEffect">
                                  <p:stCondLst>
                                    <p:cond delay="200"/>
                                  </p:stCondLst>
                                  <p:childTnLst>
                                    <p:set>
                                      <p:cBhvr>
                                        <p:cTn id="29" dur="1" fill="hold">
                                          <p:stCondLst>
                                            <p:cond delay="0"/>
                                          </p:stCondLst>
                                        </p:cTn>
                                        <p:tgtEl>
                                          <p:spTgt spid="123"/>
                                        </p:tgtEl>
                                        <p:attrNameLst>
                                          <p:attrName>style.visibility</p:attrName>
                                        </p:attrNameLst>
                                      </p:cBhvr>
                                      <p:to>
                                        <p:strVal val="visible"/>
                                      </p:to>
                                    </p:set>
                                    <p:anim calcmode="lin" valueType="num">
                                      <p:cBhvr additive="base">
                                        <p:cTn id="30" dur="80"/>
                                        <p:tgtEl>
                                          <p:spTgt spid="123"/>
                                        </p:tgtEl>
                                        <p:attrNameLst>
                                          <p:attrName>ppt_x</p:attrName>
                                        </p:attrNameLst>
                                      </p:cBhvr>
                                      <p:tavLst>
                                        <p:tav tm="0">
                                          <p:val>
                                            <p:strVal val="#ppt_x-#ppt_w*1.125000"/>
                                          </p:val>
                                        </p:tav>
                                        <p:tav tm="100000">
                                          <p:val>
                                            <p:strVal val="#ppt_x"/>
                                          </p:val>
                                        </p:tav>
                                      </p:tavLst>
                                    </p:anim>
                                    <p:animEffect transition="in" filter="wipe(right)">
                                      <p:cBhvr>
                                        <p:cTn id="31" dur="80"/>
                                        <p:tgtEl>
                                          <p:spTgt spid="123"/>
                                        </p:tgtEl>
                                      </p:cBhvr>
                                    </p:animEffect>
                                  </p:childTnLst>
                                </p:cTn>
                              </p:par>
                              <p:par>
                                <p:cTn id="32" presetID="10" presetClass="exit" presetSubtype="0" fill="hold" grpId="5" nodeType="withEffect">
                                  <p:stCondLst>
                                    <p:cond delay="200"/>
                                  </p:stCondLst>
                                  <p:childTnLst>
                                    <p:animEffect transition="out" filter="fade">
                                      <p:cBhvr>
                                        <p:cTn id="33" dur="150"/>
                                        <p:tgtEl>
                                          <p:spTgt spid="147"/>
                                        </p:tgtEl>
                                      </p:cBhvr>
                                    </p:animEffect>
                                    <p:set>
                                      <p:cBhvr>
                                        <p:cTn id="34" dur="1" fill="hold">
                                          <p:stCondLst>
                                            <p:cond delay="149"/>
                                          </p:stCondLst>
                                        </p:cTn>
                                        <p:tgtEl>
                                          <p:spTgt spid="147"/>
                                        </p:tgtEl>
                                        <p:attrNameLst>
                                          <p:attrName>style.visibility</p:attrName>
                                        </p:attrNameLst>
                                      </p:cBhvr>
                                      <p:to>
                                        <p:strVal val="hidden"/>
                                      </p:to>
                                    </p:set>
                                  </p:childTnLst>
                                </p:cTn>
                              </p:par>
                              <p:par>
                                <p:cTn id="35" presetID="10" presetClass="entr" presetSubtype="0" fill="hold" grpId="0" nodeType="withEffect">
                                  <p:stCondLst>
                                    <p:cond delay="200"/>
                                  </p:stCondLst>
                                  <p:childTnLst>
                                    <p:set>
                                      <p:cBhvr>
                                        <p:cTn id="36" dur="1" fill="hold">
                                          <p:stCondLst>
                                            <p:cond delay="0"/>
                                          </p:stCondLst>
                                        </p:cTn>
                                        <p:tgtEl>
                                          <p:spTgt spid="150"/>
                                        </p:tgtEl>
                                        <p:attrNameLst>
                                          <p:attrName>style.visibility</p:attrName>
                                        </p:attrNameLst>
                                      </p:cBhvr>
                                      <p:to>
                                        <p:strVal val="visible"/>
                                      </p:to>
                                    </p:set>
                                    <p:animEffect transition="in" filter="fade">
                                      <p:cBhvr>
                                        <p:cTn id="37" dur="150"/>
                                        <p:tgtEl>
                                          <p:spTgt spid="150"/>
                                        </p:tgtEl>
                                      </p:cBhvr>
                                    </p:animEffect>
                                  </p:childTnLst>
                                </p:cTn>
                              </p:par>
                              <p:par>
                                <p:cTn id="38" presetID="42" presetClass="path" presetSubtype="0" accel="50000" decel="50000" fill="hold" grpId="0" nodeType="withEffect">
                                  <p:stCondLst>
                                    <p:cond delay="200"/>
                                  </p:stCondLst>
                                  <p:childTnLst>
                                    <p:animMotion origin="layout" path="M 1.04167E-6 -2.59259E-6 L 0.1431 0.10139 " pathEditMode="relative" rAng="0" ptsTypes="AA">
                                      <p:cBhvr>
                                        <p:cTn id="39" dur="150" fill="hold"/>
                                        <p:tgtEl>
                                          <p:spTgt spid="123"/>
                                        </p:tgtEl>
                                        <p:attrNameLst>
                                          <p:attrName>ppt_x</p:attrName>
                                          <p:attrName>ppt_y</p:attrName>
                                        </p:attrNameLst>
                                      </p:cBhvr>
                                      <p:rCtr x="7148" y="5069"/>
                                    </p:animMotion>
                                  </p:childTnLst>
                                </p:cTn>
                              </p:par>
                              <p:par>
                                <p:cTn id="40" presetID="22" presetClass="exit" presetSubtype="4" fill="hold" grpId="1" nodeType="withEffect">
                                  <p:stCondLst>
                                    <p:cond delay="200"/>
                                  </p:stCondLst>
                                  <p:childTnLst>
                                    <p:animEffect transition="out" filter="wipe(down)">
                                      <p:cBhvr>
                                        <p:cTn id="41" dur="150"/>
                                        <p:tgtEl>
                                          <p:spTgt spid="164"/>
                                        </p:tgtEl>
                                      </p:cBhvr>
                                    </p:animEffect>
                                    <p:set>
                                      <p:cBhvr>
                                        <p:cTn id="42" dur="1" fill="hold">
                                          <p:stCondLst>
                                            <p:cond delay="149"/>
                                          </p:stCondLst>
                                        </p:cTn>
                                        <p:tgtEl>
                                          <p:spTgt spid="164"/>
                                        </p:tgtEl>
                                        <p:attrNameLst>
                                          <p:attrName>style.visibility</p:attrName>
                                        </p:attrNameLst>
                                      </p:cBhvr>
                                      <p:to>
                                        <p:strVal val="hidden"/>
                                      </p:to>
                                    </p:set>
                                  </p:childTnLst>
                                </p:cTn>
                              </p:par>
                              <p:par>
                                <p:cTn id="43" presetID="12" presetClass="entr" presetSubtype="8" fill="hold" grpId="1" nodeType="withEffect">
                                  <p:stCondLst>
                                    <p:cond delay="300"/>
                                  </p:stCondLst>
                                  <p:childTnLst>
                                    <p:set>
                                      <p:cBhvr>
                                        <p:cTn id="44" dur="1" fill="hold">
                                          <p:stCondLst>
                                            <p:cond delay="0"/>
                                          </p:stCondLst>
                                        </p:cTn>
                                        <p:tgtEl>
                                          <p:spTgt spid="91"/>
                                        </p:tgtEl>
                                        <p:attrNameLst>
                                          <p:attrName>style.visibility</p:attrName>
                                        </p:attrNameLst>
                                      </p:cBhvr>
                                      <p:to>
                                        <p:strVal val="visible"/>
                                      </p:to>
                                    </p:set>
                                    <p:anim calcmode="lin" valueType="num">
                                      <p:cBhvr additive="base">
                                        <p:cTn id="45" dur="80"/>
                                        <p:tgtEl>
                                          <p:spTgt spid="91"/>
                                        </p:tgtEl>
                                        <p:attrNameLst>
                                          <p:attrName>ppt_x</p:attrName>
                                        </p:attrNameLst>
                                      </p:cBhvr>
                                      <p:tavLst>
                                        <p:tav tm="0">
                                          <p:val>
                                            <p:strVal val="#ppt_x-#ppt_w*1.125000"/>
                                          </p:val>
                                        </p:tav>
                                        <p:tav tm="100000">
                                          <p:val>
                                            <p:strVal val="#ppt_x"/>
                                          </p:val>
                                        </p:tav>
                                      </p:tavLst>
                                    </p:anim>
                                    <p:animEffect transition="in" filter="wipe(right)">
                                      <p:cBhvr>
                                        <p:cTn id="46" dur="80"/>
                                        <p:tgtEl>
                                          <p:spTgt spid="91"/>
                                        </p:tgtEl>
                                      </p:cBhvr>
                                    </p:animEffect>
                                  </p:childTnLst>
                                </p:cTn>
                              </p:par>
                              <p:par>
                                <p:cTn id="47" presetID="10" presetClass="exit" presetSubtype="0" fill="hold" grpId="5" nodeType="withEffect">
                                  <p:stCondLst>
                                    <p:cond delay="300"/>
                                  </p:stCondLst>
                                  <p:childTnLst>
                                    <p:animEffect transition="out" filter="fade">
                                      <p:cBhvr>
                                        <p:cTn id="48" dur="150"/>
                                        <p:tgtEl>
                                          <p:spTgt spid="150"/>
                                        </p:tgtEl>
                                      </p:cBhvr>
                                    </p:animEffect>
                                    <p:set>
                                      <p:cBhvr>
                                        <p:cTn id="49" dur="1" fill="hold">
                                          <p:stCondLst>
                                            <p:cond delay="149"/>
                                          </p:stCondLst>
                                        </p:cTn>
                                        <p:tgtEl>
                                          <p:spTgt spid="150"/>
                                        </p:tgtEl>
                                        <p:attrNameLst>
                                          <p:attrName>style.visibility</p:attrName>
                                        </p:attrNameLst>
                                      </p:cBhvr>
                                      <p:to>
                                        <p:strVal val="hidden"/>
                                      </p:to>
                                    </p:set>
                                  </p:childTnLst>
                                </p:cTn>
                              </p:par>
                              <p:par>
                                <p:cTn id="50" presetID="10" presetClass="entr" presetSubtype="0" fill="hold" grpId="0" nodeType="withEffect">
                                  <p:stCondLst>
                                    <p:cond delay="300"/>
                                  </p:stCondLst>
                                  <p:childTnLst>
                                    <p:set>
                                      <p:cBhvr>
                                        <p:cTn id="51" dur="1" fill="hold">
                                          <p:stCondLst>
                                            <p:cond delay="0"/>
                                          </p:stCondLst>
                                        </p:cTn>
                                        <p:tgtEl>
                                          <p:spTgt spid="148"/>
                                        </p:tgtEl>
                                        <p:attrNameLst>
                                          <p:attrName>style.visibility</p:attrName>
                                        </p:attrNameLst>
                                      </p:cBhvr>
                                      <p:to>
                                        <p:strVal val="visible"/>
                                      </p:to>
                                    </p:set>
                                    <p:animEffect transition="in" filter="fade">
                                      <p:cBhvr>
                                        <p:cTn id="52" dur="150"/>
                                        <p:tgtEl>
                                          <p:spTgt spid="148"/>
                                        </p:tgtEl>
                                      </p:cBhvr>
                                    </p:animEffect>
                                  </p:childTnLst>
                                </p:cTn>
                              </p:par>
                              <p:par>
                                <p:cTn id="53" presetID="42" presetClass="path" presetSubtype="0" accel="50000" decel="50000" fill="hold" grpId="0" nodeType="withEffect">
                                  <p:stCondLst>
                                    <p:cond delay="300"/>
                                  </p:stCondLst>
                                  <p:childTnLst>
                                    <p:animMotion origin="layout" path="M 1.04167E-6 -2.59259E-6 L 0.14219 0.20301 " pathEditMode="relative" rAng="0" ptsTypes="AA">
                                      <p:cBhvr>
                                        <p:cTn id="54" dur="150" fill="hold"/>
                                        <p:tgtEl>
                                          <p:spTgt spid="91"/>
                                        </p:tgtEl>
                                        <p:attrNameLst>
                                          <p:attrName>ppt_x</p:attrName>
                                          <p:attrName>ppt_y</p:attrName>
                                        </p:attrNameLst>
                                      </p:cBhvr>
                                      <p:rCtr x="7109" y="10139"/>
                                    </p:animMotion>
                                  </p:childTnLst>
                                </p:cTn>
                              </p:par>
                              <p:par>
                                <p:cTn id="55" presetID="22" presetClass="entr" presetSubtype="4" fill="hold" grpId="1" nodeType="withEffect">
                                  <p:stCondLst>
                                    <p:cond delay="300"/>
                                  </p:stCondLst>
                                  <p:childTnLst>
                                    <p:set>
                                      <p:cBhvr>
                                        <p:cTn id="56" dur="1" fill="hold">
                                          <p:stCondLst>
                                            <p:cond delay="0"/>
                                          </p:stCondLst>
                                        </p:cTn>
                                        <p:tgtEl>
                                          <p:spTgt spid="173"/>
                                        </p:tgtEl>
                                        <p:attrNameLst>
                                          <p:attrName>style.visibility</p:attrName>
                                        </p:attrNameLst>
                                      </p:cBhvr>
                                      <p:to>
                                        <p:strVal val="visible"/>
                                      </p:to>
                                    </p:set>
                                    <p:animEffect transition="in" filter="wipe(down)">
                                      <p:cBhvr>
                                        <p:cTn id="57" dur="150"/>
                                        <p:tgtEl>
                                          <p:spTgt spid="173"/>
                                        </p:tgtEl>
                                      </p:cBhvr>
                                    </p:animEffect>
                                  </p:childTnLst>
                                </p:cTn>
                              </p:par>
                              <p:par>
                                <p:cTn id="58" presetID="12" presetClass="entr" presetSubtype="8" fill="hold" grpId="1" nodeType="withEffect">
                                  <p:stCondLst>
                                    <p:cond delay="400"/>
                                  </p:stCondLst>
                                  <p:childTnLst>
                                    <p:set>
                                      <p:cBhvr>
                                        <p:cTn id="59" dur="1" fill="hold">
                                          <p:stCondLst>
                                            <p:cond delay="0"/>
                                          </p:stCondLst>
                                        </p:cTn>
                                        <p:tgtEl>
                                          <p:spTgt spid="137"/>
                                        </p:tgtEl>
                                        <p:attrNameLst>
                                          <p:attrName>style.visibility</p:attrName>
                                        </p:attrNameLst>
                                      </p:cBhvr>
                                      <p:to>
                                        <p:strVal val="visible"/>
                                      </p:to>
                                    </p:set>
                                    <p:anim calcmode="lin" valueType="num">
                                      <p:cBhvr additive="base">
                                        <p:cTn id="60" dur="80"/>
                                        <p:tgtEl>
                                          <p:spTgt spid="137"/>
                                        </p:tgtEl>
                                        <p:attrNameLst>
                                          <p:attrName>ppt_x</p:attrName>
                                        </p:attrNameLst>
                                      </p:cBhvr>
                                      <p:tavLst>
                                        <p:tav tm="0">
                                          <p:val>
                                            <p:strVal val="#ppt_x-#ppt_w*1.125000"/>
                                          </p:val>
                                        </p:tav>
                                        <p:tav tm="100000">
                                          <p:val>
                                            <p:strVal val="#ppt_x"/>
                                          </p:val>
                                        </p:tav>
                                      </p:tavLst>
                                    </p:anim>
                                    <p:animEffect transition="in" filter="wipe(right)">
                                      <p:cBhvr>
                                        <p:cTn id="61" dur="80"/>
                                        <p:tgtEl>
                                          <p:spTgt spid="137"/>
                                        </p:tgtEl>
                                      </p:cBhvr>
                                    </p:animEffect>
                                  </p:childTnLst>
                                </p:cTn>
                              </p:par>
                              <p:par>
                                <p:cTn id="62" presetID="10" presetClass="exit" presetSubtype="0" fill="hold" grpId="3" nodeType="withEffect">
                                  <p:stCondLst>
                                    <p:cond delay="400"/>
                                  </p:stCondLst>
                                  <p:childTnLst>
                                    <p:animEffect transition="out" filter="fade">
                                      <p:cBhvr>
                                        <p:cTn id="63" dur="150"/>
                                        <p:tgtEl>
                                          <p:spTgt spid="148"/>
                                        </p:tgtEl>
                                      </p:cBhvr>
                                    </p:animEffect>
                                    <p:set>
                                      <p:cBhvr>
                                        <p:cTn id="64" dur="1" fill="hold">
                                          <p:stCondLst>
                                            <p:cond delay="149"/>
                                          </p:stCondLst>
                                        </p:cTn>
                                        <p:tgtEl>
                                          <p:spTgt spid="148"/>
                                        </p:tgtEl>
                                        <p:attrNameLst>
                                          <p:attrName>style.visibility</p:attrName>
                                        </p:attrNameLst>
                                      </p:cBhvr>
                                      <p:to>
                                        <p:strVal val="hidden"/>
                                      </p:to>
                                    </p:set>
                                  </p:childTnLst>
                                </p:cTn>
                              </p:par>
                              <p:par>
                                <p:cTn id="65" presetID="10" presetClass="entr" presetSubtype="0" fill="hold" grpId="1" nodeType="withEffect">
                                  <p:stCondLst>
                                    <p:cond delay="400"/>
                                  </p:stCondLst>
                                  <p:childTnLst>
                                    <p:set>
                                      <p:cBhvr>
                                        <p:cTn id="66" dur="1" fill="hold">
                                          <p:stCondLst>
                                            <p:cond delay="0"/>
                                          </p:stCondLst>
                                        </p:cTn>
                                        <p:tgtEl>
                                          <p:spTgt spid="147"/>
                                        </p:tgtEl>
                                        <p:attrNameLst>
                                          <p:attrName>style.visibility</p:attrName>
                                        </p:attrNameLst>
                                      </p:cBhvr>
                                      <p:to>
                                        <p:strVal val="visible"/>
                                      </p:to>
                                    </p:set>
                                    <p:animEffect transition="in" filter="fade">
                                      <p:cBhvr>
                                        <p:cTn id="67" dur="150"/>
                                        <p:tgtEl>
                                          <p:spTgt spid="147"/>
                                        </p:tgtEl>
                                      </p:cBhvr>
                                    </p:animEffect>
                                  </p:childTnLst>
                                </p:cTn>
                              </p:par>
                              <p:par>
                                <p:cTn id="68" presetID="42" presetClass="path" presetSubtype="0" accel="50000" decel="50000" fill="hold" grpId="0" nodeType="withEffect">
                                  <p:stCondLst>
                                    <p:cond delay="400"/>
                                  </p:stCondLst>
                                  <p:childTnLst>
                                    <p:animMotion origin="layout" path="M 1.04167E-6 -2.59259E-6 L 0.07161 -0.2037 " pathEditMode="relative" rAng="0" ptsTypes="AA">
                                      <p:cBhvr>
                                        <p:cTn id="69" dur="150" fill="hold"/>
                                        <p:tgtEl>
                                          <p:spTgt spid="137"/>
                                        </p:tgtEl>
                                        <p:attrNameLst>
                                          <p:attrName>ppt_x</p:attrName>
                                          <p:attrName>ppt_y</p:attrName>
                                        </p:attrNameLst>
                                      </p:cBhvr>
                                      <p:rCtr x="3581" y="-10185"/>
                                    </p:animMotion>
                                  </p:childTnLst>
                                </p:cTn>
                              </p:par>
                              <p:par>
                                <p:cTn id="70" presetID="22" presetClass="exit" presetSubtype="1" fill="hold" grpId="0" nodeType="withEffect">
                                  <p:stCondLst>
                                    <p:cond delay="400"/>
                                  </p:stCondLst>
                                  <p:childTnLst>
                                    <p:animEffect transition="out" filter="wipe(up)">
                                      <p:cBhvr>
                                        <p:cTn id="71" dur="150"/>
                                        <p:tgtEl>
                                          <p:spTgt spid="171"/>
                                        </p:tgtEl>
                                      </p:cBhvr>
                                    </p:animEffect>
                                    <p:set>
                                      <p:cBhvr>
                                        <p:cTn id="72" dur="1" fill="hold">
                                          <p:stCondLst>
                                            <p:cond delay="149"/>
                                          </p:stCondLst>
                                        </p:cTn>
                                        <p:tgtEl>
                                          <p:spTgt spid="171"/>
                                        </p:tgtEl>
                                        <p:attrNameLst>
                                          <p:attrName>style.visibility</p:attrName>
                                        </p:attrNameLst>
                                      </p:cBhvr>
                                      <p:to>
                                        <p:strVal val="hidden"/>
                                      </p:to>
                                    </p:set>
                                  </p:childTnLst>
                                </p:cTn>
                              </p:par>
                              <p:par>
                                <p:cTn id="73" presetID="12" presetClass="entr" presetSubtype="8" fill="hold" grpId="1" nodeType="withEffect">
                                  <p:stCondLst>
                                    <p:cond delay="500"/>
                                  </p:stCondLst>
                                  <p:childTnLst>
                                    <p:set>
                                      <p:cBhvr>
                                        <p:cTn id="74" dur="1" fill="hold">
                                          <p:stCondLst>
                                            <p:cond delay="0"/>
                                          </p:stCondLst>
                                        </p:cTn>
                                        <p:tgtEl>
                                          <p:spTgt spid="138"/>
                                        </p:tgtEl>
                                        <p:attrNameLst>
                                          <p:attrName>style.visibility</p:attrName>
                                        </p:attrNameLst>
                                      </p:cBhvr>
                                      <p:to>
                                        <p:strVal val="visible"/>
                                      </p:to>
                                    </p:set>
                                    <p:anim calcmode="lin" valueType="num">
                                      <p:cBhvr additive="base">
                                        <p:cTn id="75" dur="80"/>
                                        <p:tgtEl>
                                          <p:spTgt spid="138"/>
                                        </p:tgtEl>
                                        <p:attrNameLst>
                                          <p:attrName>ppt_x</p:attrName>
                                        </p:attrNameLst>
                                      </p:cBhvr>
                                      <p:tavLst>
                                        <p:tav tm="0">
                                          <p:val>
                                            <p:strVal val="#ppt_x-#ppt_w*1.125000"/>
                                          </p:val>
                                        </p:tav>
                                        <p:tav tm="100000">
                                          <p:val>
                                            <p:strVal val="#ppt_x"/>
                                          </p:val>
                                        </p:tav>
                                      </p:tavLst>
                                    </p:anim>
                                    <p:animEffect transition="in" filter="wipe(right)">
                                      <p:cBhvr>
                                        <p:cTn id="76" dur="80"/>
                                        <p:tgtEl>
                                          <p:spTgt spid="138"/>
                                        </p:tgtEl>
                                      </p:cBhvr>
                                    </p:animEffect>
                                  </p:childTnLst>
                                </p:cTn>
                              </p:par>
                              <p:par>
                                <p:cTn id="77" presetID="10" presetClass="exit" presetSubtype="0" fill="hold" grpId="3" nodeType="withEffect">
                                  <p:stCondLst>
                                    <p:cond delay="500"/>
                                  </p:stCondLst>
                                  <p:childTnLst>
                                    <p:animEffect transition="out" filter="fade">
                                      <p:cBhvr>
                                        <p:cTn id="78" dur="150"/>
                                        <p:tgtEl>
                                          <p:spTgt spid="147"/>
                                        </p:tgtEl>
                                      </p:cBhvr>
                                    </p:animEffect>
                                    <p:set>
                                      <p:cBhvr>
                                        <p:cTn id="79" dur="1" fill="hold">
                                          <p:stCondLst>
                                            <p:cond delay="149"/>
                                          </p:stCondLst>
                                        </p:cTn>
                                        <p:tgtEl>
                                          <p:spTgt spid="147"/>
                                        </p:tgtEl>
                                        <p:attrNameLst>
                                          <p:attrName>style.visibility</p:attrName>
                                        </p:attrNameLst>
                                      </p:cBhvr>
                                      <p:to>
                                        <p:strVal val="hidden"/>
                                      </p:to>
                                    </p:set>
                                  </p:childTnLst>
                                </p:cTn>
                              </p:par>
                              <p:par>
                                <p:cTn id="80" presetID="10" presetClass="entr" presetSubtype="0" fill="hold" grpId="0" nodeType="withEffect">
                                  <p:stCondLst>
                                    <p:cond delay="500"/>
                                  </p:stCondLst>
                                  <p:childTnLst>
                                    <p:set>
                                      <p:cBhvr>
                                        <p:cTn id="81" dur="1" fill="hold">
                                          <p:stCondLst>
                                            <p:cond delay="0"/>
                                          </p:stCondLst>
                                        </p:cTn>
                                        <p:tgtEl>
                                          <p:spTgt spid="149"/>
                                        </p:tgtEl>
                                        <p:attrNameLst>
                                          <p:attrName>style.visibility</p:attrName>
                                        </p:attrNameLst>
                                      </p:cBhvr>
                                      <p:to>
                                        <p:strVal val="visible"/>
                                      </p:to>
                                    </p:set>
                                    <p:animEffect transition="in" filter="fade">
                                      <p:cBhvr>
                                        <p:cTn id="82" dur="150"/>
                                        <p:tgtEl>
                                          <p:spTgt spid="149"/>
                                        </p:tgtEl>
                                      </p:cBhvr>
                                    </p:animEffect>
                                  </p:childTnLst>
                                </p:cTn>
                              </p:par>
                              <p:par>
                                <p:cTn id="83" presetID="42" presetClass="path" presetSubtype="0" accel="50000" decel="50000" fill="hold" grpId="0" nodeType="withEffect">
                                  <p:stCondLst>
                                    <p:cond delay="500"/>
                                  </p:stCondLst>
                                  <p:childTnLst>
                                    <p:animMotion origin="layout" path="M 1.04167E-6 -2.59259E-6 L 0.07161 -0.10185 " pathEditMode="relative" rAng="0" ptsTypes="AA">
                                      <p:cBhvr>
                                        <p:cTn id="84" dur="150" fill="hold"/>
                                        <p:tgtEl>
                                          <p:spTgt spid="138"/>
                                        </p:tgtEl>
                                        <p:attrNameLst>
                                          <p:attrName>ppt_x</p:attrName>
                                          <p:attrName>ppt_y</p:attrName>
                                        </p:attrNameLst>
                                      </p:cBhvr>
                                      <p:rCtr x="3581" y="-5093"/>
                                    </p:animMotion>
                                  </p:childTnLst>
                                </p:cTn>
                              </p:par>
                              <p:par>
                                <p:cTn id="85" presetID="22" presetClass="entr" presetSubtype="1" fill="hold" grpId="2" nodeType="withEffect">
                                  <p:stCondLst>
                                    <p:cond delay="500"/>
                                  </p:stCondLst>
                                  <p:childTnLst>
                                    <p:set>
                                      <p:cBhvr>
                                        <p:cTn id="86" dur="1" fill="hold">
                                          <p:stCondLst>
                                            <p:cond delay="0"/>
                                          </p:stCondLst>
                                        </p:cTn>
                                        <p:tgtEl>
                                          <p:spTgt spid="164"/>
                                        </p:tgtEl>
                                        <p:attrNameLst>
                                          <p:attrName>style.visibility</p:attrName>
                                        </p:attrNameLst>
                                      </p:cBhvr>
                                      <p:to>
                                        <p:strVal val="visible"/>
                                      </p:to>
                                    </p:set>
                                    <p:animEffect transition="in" filter="wipe(up)">
                                      <p:cBhvr>
                                        <p:cTn id="87" dur="150"/>
                                        <p:tgtEl>
                                          <p:spTgt spid="164"/>
                                        </p:tgtEl>
                                      </p:cBhvr>
                                    </p:animEffect>
                                  </p:childTnLst>
                                </p:cTn>
                              </p:par>
                              <p:par>
                                <p:cTn id="88" presetID="12" presetClass="entr" presetSubtype="8" fill="hold" grpId="1" nodeType="withEffect">
                                  <p:stCondLst>
                                    <p:cond delay="600"/>
                                  </p:stCondLst>
                                  <p:childTnLst>
                                    <p:set>
                                      <p:cBhvr>
                                        <p:cTn id="89" dur="1" fill="hold">
                                          <p:stCondLst>
                                            <p:cond delay="0"/>
                                          </p:stCondLst>
                                        </p:cTn>
                                        <p:tgtEl>
                                          <p:spTgt spid="139"/>
                                        </p:tgtEl>
                                        <p:attrNameLst>
                                          <p:attrName>style.visibility</p:attrName>
                                        </p:attrNameLst>
                                      </p:cBhvr>
                                      <p:to>
                                        <p:strVal val="visible"/>
                                      </p:to>
                                    </p:set>
                                    <p:anim calcmode="lin" valueType="num">
                                      <p:cBhvr additive="base">
                                        <p:cTn id="90" dur="80"/>
                                        <p:tgtEl>
                                          <p:spTgt spid="139"/>
                                        </p:tgtEl>
                                        <p:attrNameLst>
                                          <p:attrName>ppt_x</p:attrName>
                                        </p:attrNameLst>
                                      </p:cBhvr>
                                      <p:tavLst>
                                        <p:tav tm="0">
                                          <p:val>
                                            <p:strVal val="#ppt_x-#ppt_w*1.125000"/>
                                          </p:val>
                                        </p:tav>
                                        <p:tav tm="100000">
                                          <p:val>
                                            <p:strVal val="#ppt_x"/>
                                          </p:val>
                                        </p:tav>
                                      </p:tavLst>
                                    </p:anim>
                                    <p:animEffect transition="in" filter="wipe(right)">
                                      <p:cBhvr>
                                        <p:cTn id="91" dur="80"/>
                                        <p:tgtEl>
                                          <p:spTgt spid="139"/>
                                        </p:tgtEl>
                                      </p:cBhvr>
                                    </p:animEffect>
                                  </p:childTnLst>
                                </p:cTn>
                              </p:par>
                              <p:par>
                                <p:cTn id="92" presetID="10" presetClass="exit" presetSubtype="0" fill="hold" grpId="3" nodeType="withEffect">
                                  <p:stCondLst>
                                    <p:cond delay="600"/>
                                  </p:stCondLst>
                                  <p:childTnLst>
                                    <p:animEffect transition="out" filter="fade">
                                      <p:cBhvr>
                                        <p:cTn id="93" dur="150"/>
                                        <p:tgtEl>
                                          <p:spTgt spid="149"/>
                                        </p:tgtEl>
                                      </p:cBhvr>
                                    </p:animEffect>
                                    <p:set>
                                      <p:cBhvr>
                                        <p:cTn id="94" dur="1" fill="hold">
                                          <p:stCondLst>
                                            <p:cond delay="149"/>
                                          </p:stCondLst>
                                        </p:cTn>
                                        <p:tgtEl>
                                          <p:spTgt spid="149"/>
                                        </p:tgtEl>
                                        <p:attrNameLst>
                                          <p:attrName>style.visibility</p:attrName>
                                        </p:attrNameLst>
                                      </p:cBhvr>
                                      <p:to>
                                        <p:strVal val="hidden"/>
                                      </p:to>
                                    </p:set>
                                  </p:childTnLst>
                                </p:cTn>
                              </p:par>
                              <p:par>
                                <p:cTn id="95" presetID="10" presetClass="entr" presetSubtype="0" fill="hold" grpId="0" nodeType="withEffect">
                                  <p:stCondLst>
                                    <p:cond delay="600"/>
                                  </p:stCondLst>
                                  <p:childTnLst>
                                    <p:set>
                                      <p:cBhvr>
                                        <p:cTn id="96" dur="1" fill="hold">
                                          <p:stCondLst>
                                            <p:cond delay="0"/>
                                          </p:stCondLst>
                                        </p:cTn>
                                        <p:tgtEl>
                                          <p:spTgt spid="136"/>
                                        </p:tgtEl>
                                        <p:attrNameLst>
                                          <p:attrName>style.visibility</p:attrName>
                                        </p:attrNameLst>
                                      </p:cBhvr>
                                      <p:to>
                                        <p:strVal val="visible"/>
                                      </p:to>
                                    </p:set>
                                    <p:animEffect transition="in" filter="fade">
                                      <p:cBhvr>
                                        <p:cTn id="97" dur="150"/>
                                        <p:tgtEl>
                                          <p:spTgt spid="136"/>
                                        </p:tgtEl>
                                      </p:cBhvr>
                                    </p:animEffect>
                                  </p:childTnLst>
                                </p:cTn>
                              </p:par>
                              <p:par>
                                <p:cTn id="98" presetID="42" presetClass="path" presetSubtype="0" accel="50000" decel="50000" fill="hold" grpId="0" nodeType="withEffect">
                                  <p:stCondLst>
                                    <p:cond delay="600"/>
                                  </p:stCondLst>
                                  <p:childTnLst>
                                    <p:animMotion origin="layout" path="M 1.04167E-6 -2.59259E-6 L 0.07135 -0.00023 " pathEditMode="relative" rAng="0" ptsTypes="AA">
                                      <p:cBhvr>
                                        <p:cTn id="99" dur="150" fill="hold"/>
                                        <p:tgtEl>
                                          <p:spTgt spid="139"/>
                                        </p:tgtEl>
                                        <p:attrNameLst>
                                          <p:attrName>ppt_x</p:attrName>
                                          <p:attrName>ppt_y</p:attrName>
                                        </p:attrNameLst>
                                      </p:cBhvr>
                                      <p:rCtr x="3568" y="-23"/>
                                    </p:animMotion>
                                  </p:childTnLst>
                                </p:cTn>
                              </p:par>
                              <p:par>
                                <p:cTn id="100" presetID="22" presetClass="entr" presetSubtype="4" fill="hold" grpId="1" nodeType="withEffect">
                                  <p:stCondLst>
                                    <p:cond delay="600"/>
                                  </p:stCondLst>
                                  <p:childTnLst>
                                    <p:set>
                                      <p:cBhvr>
                                        <p:cTn id="101" dur="1" fill="hold">
                                          <p:stCondLst>
                                            <p:cond delay="0"/>
                                          </p:stCondLst>
                                        </p:cTn>
                                        <p:tgtEl>
                                          <p:spTgt spid="171"/>
                                        </p:tgtEl>
                                        <p:attrNameLst>
                                          <p:attrName>style.visibility</p:attrName>
                                        </p:attrNameLst>
                                      </p:cBhvr>
                                      <p:to>
                                        <p:strVal val="visible"/>
                                      </p:to>
                                    </p:set>
                                    <p:animEffect transition="in" filter="wipe(down)">
                                      <p:cBhvr>
                                        <p:cTn id="102" dur="150"/>
                                        <p:tgtEl>
                                          <p:spTgt spid="171"/>
                                        </p:tgtEl>
                                      </p:cBhvr>
                                    </p:animEffect>
                                  </p:childTnLst>
                                </p:cTn>
                              </p:par>
                              <p:par>
                                <p:cTn id="103" presetID="22" presetClass="exit" presetSubtype="1" fill="hold" grpId="2" nodeType="withEffect">
                                  <p:stCondLst>
                                    <p:cond delay="600"/>
                                  </p:stCondLst>
                                  <p:childTnLst>
                                    <p:animEffect transition="out" filter="wipe(up)">
                                      <p:cBhvr>
                                        <p:cTn id="104" dur="150"/>
                                        <p:tgtEl>
                                          <p:spTgt spid="173"/>
                                        </p:tgtEl>
                                      </p:cBhvr>
                                    </p:animEffect>
                                    <p:set>
                                      <p:cBhvr>
                                        <p:cTn id="105" dur="1" fill="hold">
                                          <p:stCondLst>
                                            <p:cond delay="149"/>
                                          </p:stCondLst>
                                        </p:cTn>
                                        <p:tgtEl>
                                          <p:spTgt spid="173"/>
                                        </p:tgtEl>
                                        <p:attrNameLst>
                                          <p:attrName>style.visibility</p:attrName>
                                        </p:attrNameLst>
                                      </p:cBhvr>
                                      <p:to>
                                        <p:strVal val="hidden"/>
                                      </p:to>
                                    </p:set>
                                  </p:childTnLst>
                                </p:cTn>
                              </p:par>
                              <p:par>
                                <p:cTn id="106" presetID="12" presetClass="entr" presetSubtype="8" fill="hold" grpId="1" nodeType="withEffect">
                                  <p:stCondLst>
                                    <p:cond delay="700"/>
                                  </p:stCondLst>
                                  <p:childTnLst>
                                    <p:set>
                                      <p:cBhvr>
                                        <p:cTn id="107" dur="1" fill="hold">
                                          <p:stCondLst>
                                            <p:cond delay="0"/>
                                          </p:stCondLst>
                                        </p:cTn>
                                        <p:tgtEl>
                                          <p:spTgt spid="140"/>
                                        </p:tgtEl>
                                        <p:attrNameLst>
                                          <p:attrName>style.visibility</p:attrName>
                                        </p:attrNameLst>
                                      </p:cBhvr>
                                      <p:to>
                                        <p:strVal val="visible"/>
                                      </p:to>
                                    </p:set>
                                    <p:anim calcmode="lin" valueType="num">
                                      <p:cBhvr additive="base">
                                        <p:cTn id="108" dur="80"/>
                                        <p:tgtEl>
                                          <p:spTgt spid="140"/>
                                        </p:tgtEl>
                                        <p:attrNameLst>
                                          <p:attrName>ppt_x</p:attrName>
                                        </p:attrNameLst>
                                      </p:cBhvr>
                                      <p:tavLst>
                                        <p:tav tm="0">
                                          <p:val>
                                            <p:strVal val="#ppt_x-#ppt_w*1.125000"/>
                                          </p:val>
                                        </p:tav>
                                        <p:tav tm="100000">
                                          <p:val>
                                            <p:strVal val="#ppt_x"/>
                                          </p:val>
                                        </p:tav>
                                      </p:tavLst>
                                    </p:anim>
                                    <p:animEffect transition="in" filter="wipe(right)">
                                      <p:cBhvr>
                                        <p:cTn id="109" dur="80"/>
                                        <p:tgtEl>
                                          <p:spTgt spid="140"/>
                                        </p:tgtEl>
                                      </p:cBhvr>
                                    </p:animEffect>
                                  </p:childTnLst>
                                </p:cTn>
                              </p:par>
                              <p:par>
                                <p:cTn id="110" presetID="10" presetClass="exit" presetSubtype="0" fill="hold" grpId="2" nodeType="withEffect">
                                  <p:stCondLst>
                                    <p:cond delay="700"/>
                                  </p:stCondLst>
                                  <p:childTnLst>
                                    <p:animEffect transition="out" filter="fade">
                                      <p:cBhvr>
                                        <p:cTn id="111" dur="150"/>
                                        <p:tgtEl>
                                          <p:spTgt spid="136"/>
                                        </p:tgtEl>
                                      </p:cBhvr>
                                    </p:animEffect>
                                    <p:set>
                                      <p:cBhvr>
                                        <p:cTn id="112" dur="1" fill="hold">
                                          <p:stCondLst>
                                            <p:cond delay="149"/>
                                          </p:stCondLst>
                                        </p:cTn>
                                        <p:tgtEl>
                                          <p:spTgt spid="136"/>
                                        </p:tgtEl>
                                        <p:attrNameLst>
                                          <p:attrName>style.visibility</p:attrName>
                                        </p:attrNameLst>
                                      </p:cBhvr>
                                      <p:to>
                                        <p:strVal val="hidden"/>
                                      </p:to>
                                    </p:set>
                                  </p:childTnLst>
                                </p:cTn>
                              </p:par>
                              <p:par>
                                <p:cTn id="113" presetID="10" presetClass="entr" presetSubtype="0" fill="hold" grpId="1" nodeType="withEffect">
                                  <p:stCondLst>
                                    <p:cond delay="700"/>
                                  </p:stCondLst>
                                  <p:childTnLst>
                                    <p:set>
                                      <p:cBhvr>
                                        <p:cTn id="114" dur="1" fill="hold">
                                          <p:stCondLst>
                                            <p:cond delay="0"/>
                                          </p:stCondLst>
                                        </p:cTn>
                                        <p:tgtEl>
                                          <p:spTgt spid="150"/>
                                        </p:tgtEl>
                                        <p:attrNameLst>
                                          <p:attrName>style.visibility</p:attrName>
                                        </p:attrNameLst>
                                      </p:cBhvr>
                                      <p:to>
                                        <p:strVal val="visible"/>
                                      </p:to>
                                    </p:set>
                                    <p:animEffect transition="in" filter="fade">
                                      <p:cBhvr>
                                        <p:cTn id="115" dur="150"/>
                                        <p:tgtEl>
                                          <p:spTgt spid="150"/>
                                        </p:tgtEl>
                                      </p:cBhvr>
                                    </p:animEffect>
                                  </p:childTnLst>
                                </p:cTn>
                              </p:par>
                              <p:par>
                                <p:cTn id="116" presetID="42" presetClass="path" presetSubtype="0" accel="50000" decel="50000" fill="hold" grpId="0" nodeType="withEffect">
                                  <p:stCondLst>
                                    <p:cond delay="700"/>
                                  </p:stCondLst>
                                  <p:childTnLst>
                                    <p:animMotion origin="layout" path="M 1.04167E-6 -2.59259E-6 L 0.07174 0.10185 " pathEditMode="relative" rAng="0" ptsTypes="AA">
                                      <p:cBhvr>
                                        <p:cTn id="117" dur="150" fill="hold"/>
                                        <p:tgtEl>
                                          <p:spTgt spid="140"/>
                                        </p:tgtEl>
                                        <p:attrNameLst>
                                          <p:attrName>ppt_x</p:attrName>
                                          <p:attrName>ppt_y</p:attrName>
                                        </p:attrNameLst>
                                      </p:cBhvr>
                                      <p:rCtr x="3581" y="5093"/>
                                    </p:animMotion>
                                  </p:childTnLst>
                                </p:cTn>
                              </p:par>
                              <p:par>
                                <p:cTn id="118" presetID="22" presetClass="exit" presetSubtype="4" fill="hold" grpId="1" nodeType="withEffect">
                                  <p:stCondLst>
                                    <p:cond delay="700"/>
                                  </p:stCondLst>
                                  <p:childTnLst>
                                    <p:animEffect transition="out" filter="wipe(down)">
                                      <p:cBhvr>
                                        <p:cTn id="119" dur="150"/>
                                        <p:tgtEl>
                                          <p:spTgt spid="175"/>
                                        </p:tgtEl>
                                      </p:cBhvr>
                                    </p:animEffect>
                                    <p:set>
                                      <p:cBhvr>
                                        <p:cTn id="120" dur="1" fill="hold">
                                          <p:stCondLst>
                                            <p:cond delay="149"/>
                                          </p:stCondLst>
                                        </p:cTn>
                                        <p:tgtEl>
                                          <p:spTgt spid="175"/>
                                        </p:tgtEl>
                                        <p:attrNameLst>
                                          <p:attrName>style.visibility</p:attrName>
                                        </p:attrNameLst>
                                      </p:cBhvr>
                                      <p:to>
                                        <p:strVal val="hidden"/>
                                      </p:to>
                                    </p:set>
                                  </p:childTnLst>
                                </p:cTn>
                              </p:par>
                              <p:par>
                                <p:cTn id="121" presetID="22" presetClass="exit" presetSubtype="4" fill="hold" grpId="3" nodeType="withEffect">
                                  <p:stCondLst>
                                    <p:cond delay="700"/>
                                  </p:stCondLst>
                                  <p:childTnLst>
                                    <p:animEffect transition="out" filter="wipe(down)">
                                      <p:cBhvr>
                                        <p:cTn id="122" dur="150"/>
                                        <p:tgtEl>
                                          <p:spTgt spid="164"/>
                                        </p:tgtEl>
                                      </p:cBhvr>
                                    </p:animEffect>
                                    <p:set>
                                      <p:cBhvr>
                                        <p:cTn id="123" dur="1" fill="hold">
                                          <p:stCondLst>
                                            <p:cond delay="149"/>
                                          </p:stCondLst>
                                        </p:cTn>
                                        <p:tgtEl>
                                          <p:spTgt spid="164"/>
                                        </p:tgtEl>
                                        <p:attrNameLst>
                                          <p:attrName>style.visibility</p:attrName>
                                        </p:attrNameLst>
                                      </p:cBhvr>
                                      <p:to>
                                        <p:strVal val="hidden"/>
                                      </p:to>
                                    </p:set>
                                  </p:childTnLst>
                                </p:cTn>
                              </p:par>
                              <p:par>
                                <p:cTn id="124" presetID="22" presetClass="exit" presetSubtype="4" fill="hold" grpId="0" nodeType="withEffect">
                                  <p:stCondLst>
                                    <p:cond delay="700"/>
                                  </p:stCondLst>
                                  <p:childTnLst>
                                    <p:animEffect transition="out" filter="wipe(down)">
                                      <p:cBhvr>
                                        <p:cTn id="125" dur="150"/>
                                        <p:tgtEl>
                                          <p:spTgt spid="174"/>
                                        </p:tgtEl>
                                      </p:cBhvr>
                                    </p:animEffect>
                                    <p:set>
                                      <p:cBhvr>
                                        <p:cTn id="126" dur="1" fill="hold">
                                          <p:stCondLst>
                                            <p:cond delay="149"/>
                                          </p:stCondLst>
                                        </p:cTn>
                                        <p:tgtEl>
                                          <p:spTgt spid="174"/>
                                        </p:tgtEl>
                                        <p:attrNameLst>
                                          <p:attrName>style.visibility</p:attrName>
                                        </p:attrNameLst>
                                      </p:cBhvr>
                                      <p:to>
                                        <p:strVal val="hidden"/>
                                      </p:to>
                                    </p:set>
                                  </p:childTnLst>
                                </p:cTn>
                              </p:par>
                              <p:par>
                                <p:cTn id="127" presetID="12" presetClass="entr" presetSubtype="8" fill="hold" grpId="1" nodeType="withEffect">
                                  <p:stCondLst>
                                    <p:cond delay="800"/>
                                  </p:stCondLst>
                                  <p:childTnLst>
                                    <p:set>
                                      <p:cBhvr>
                                        <p:cTn id="128" dur="1" fill="hold">
                                          <p:stCondLst>
                                            <p:cond delay="0"/>
                                          </p:stCondLst>
                                        </p:cTn>
                                        <p:tgtEl>
                                          <p:spTgt spid="141"/>
                                        </p:tgtEl>
                                        <p:attrNameLst>
                                          <p:attrName>style.visibility</p:attrName>
                                        </p:attrNameLst>
                                      </p:cBhvr>
                                      <p:to>
                                        <p:strVal val="visible"/>
                                      </p:to>
                                    </p:set>
                                    <p:anim calcmode="lin" valueType="num">
                                      <p:cBhvr additive="base">
                                        <p:cTn id="129" dur="80"/>
                                        <p:tgtEl>
                                          <p:spTgt spid="141"/>
                                        </p:tgtEl>
                                        <p:attrNameLst>
                                          <p:attrName>ppt_x</p:attrName>
                                        </p:attrNameLst>
                                      </p:cBhvr>
                                      <p:tavLst>
                                        <p:tav tm="0">
                                          <p:val>
                                            <p:strVal val="#ppt_x-#ppt_w*1.125000"/>
                                          </p:val>
                                        </p:tav>
                                        <p:tav tm="100000">
                                          <p:val>
                                            <p:strVal val="#ppt_x"/>
                                          </p:val>
                                        </p:tav>
                                      </p:tavLst>
                                    </p:anim>
                                    <p:animEffect transition="in" filter="wipe(right)">
                                      <p:cBhvr>
                                        <p:cTn id="130" dur="80"/>
                                        <p:tgtEl>
                                          <p:spTgt spid="141"/>
                                        </p:tgtEl>
                                      </p:cBhvr>
                                    </p:animEffect>
                                  </p:childTnLst>
                                </p:cTn>
                              </p:par>
                              <p:par>
                                <p:cTn id="131" presetID="10" presetClass="exit" presetSubtype="0" fill="hold" grpId="3" nodeType="withEffect">
                                  <p:stCondLst>
                                    <p:cond delay="800"/>
                                  </p:stCondLst>
                                  <p:childTnLst>
                                    <p:animEffect transition="out" filter="fade">
                                      <p:cBhvr>
                                        <p:cTn id="132" dur="150"/>
                                        <p:tgtEl>
                                          <p:spTgt spid="150"/>
                                        </p:tgtEl>
                                      </p:cBhvr>
                                    </p:animEffect>
                                    <p:set>
                                      <p:cBhvr>
                                        <p:cTn id="133" dur="1" fill="hold">
                                          <p:stCondLst>
                                            <p:cond delay="149"/>
                                          </p:stCondLst>
                                        </p:cTn>
                                        <p:tgtEl>
                                          <p:spTgt spid="150"/>
                                        </p:tgtEl>
                                        <p:attrNameLst>
                                          <p:attrName>style.visibility</p:attrName>
                                        </p:attrNameLst>
                                      </p:cBhvr>
                                      <p:to>
                                        <p:strVal val="hidden"/>
                                      </p:to>
                                    </p:set>
                                  </p:childTnLst>
                                </p:cTn>
                              </p:par>
                              <p:par>
                                <p:cTn id="134" presetID="10" presetClass="entr" presetSubtype="0" fill="hold" grpId="1" nodeType="withEffect">
                                  <p:stCondLst>
                                    <p:cond delay="800"/>
                                  </p:stCondLst>
                                  <p:childTnLst>
                                    <p:set>
                                      <p:cBhvr>
                                        <p:cTn id="135" dur="1" fill="hold">
                                          <p:stCondLst>
                                            <p:cond delay="0"/>
                                          </p:stCondLst>
                                        </p:cTn>
                                        <p:tgtEl>
                                          <p:spTgt spid="149"/>
                                        </p:tgtEl>
                                        <p:attrNameLst>
                                          <p:attrName>style.visibility</p:attrName>
                                        </p:attrNameLst>
                                      </p:cBhvr>
                                      <p:to>
                                        <p:strVal val="visible"/>
                                      </p:to>
                                    </p:set>
                                    <p:animEffect transition="in" filter="fade">
                                      <p:cBhvr>
                                        <p:cTn id="136" dur="150"/>
                                        <p:tgtEl>
                                          <p:spTgt spid="149"/>
                                        </p:tgtEl>
                                      </p:cBhvr>
                                    </p:animEffect>
                                  </p:childTnLst>
                                </p:cTn>
                              </p:par>
                              <p:par>
                                <p:cTn id="137" presetID="42" presetClass="path" presetSubtype="0" accel="50000" decel="50000" fill="hold" grpId="0" nodeType="withEffect">
                                  <p:stCondLst>
                                    <p:cond delay="800"/>
                                  </p:stCondLst>
                                  <p:childTnLst>
                                    <p:animMotion origin="layout" path="M 1.04167E-6 -2.59259E-6 L 0.07161 0.20278 " pathEditMode="relative" rAng="0" ptsTypes="AA">
                                      <p:cBhvr>
                                        <p:cTn id="138" dur="150" fill="hold"/>
                                        <p:tgtEl>
                                          <p:spTgt spid="141"/>
                                        </p:tgtEl>
                                        <p:attrNameLst>
                                          <p:attrName>ppt_x</p:attrName>
                                          <p:attrName>ppt_y</p:attrName>
                                        </p:attrNameLst>
                                      </p:cBhvr>
                                      <p:rCtr x="3581" y="10139"/>
                                    </p:animMotion>
                                  </p:childTnLst>
                                </p:cTn>
                              </p:par>
                              <p:par>
                                <p:cTn id="139" presetID="12" presetClass="entr" presetSubtype="4" fill="hold" grpId="1" nodeType="withEffect">
                                  <p:stCondLst>
                                    <p:cond delay="900"/>
                                  </p:stCondLst>
                                  <p:childTnLst>
                                    <p:set>
                                      <p:cBhvr>
                                        <p:cTn id="140" dur="1" fill="hold">
                                          <p:stCondLst>
                                            <p:cond delay="0"/>
                                          </p:stCondLst>
                                        </p:cTn>
                                        <p:tgtEl>
                                          <p:spTgt spid="142"/>
                                        </p:tgtEl>
                                        <p:attrNameLst>
                                          <p:attrName>style.visibility</p:attrName>
                                        </p:attrNameLst>
                                      </p:cBhvr>
                                      <p:to>
                                        <p:strVal val="visible"/>
                                      </p:to>
                                    </p:set>
                                    <p:anim calcmode="lin" valueType="num">
                                      <p:cBhvr additive="base">
                                        <p:cTn id="141" dur="80"/>
                                        <p:tgtEl>
                                          <p:spTgt spid="142"/>
                                        </p:tgtEl>
                                        <p:attrNameLst>
                                          <p:attrName>ppt_y</p:attrName>
                                        </p:attrNameLst>
                                      </p:cBhvr>
                                      <p:tavLst>
                                        <p:tav tm="0">
                                          <p:val>
                                            <p:strVal val="#ppt_y+#ppt_h*1.125000"/>
                                          </p:val>
                                        </p:tav>
                                        <p:tav tm="100000">
                                          <p:val>
                                            <p:strVal val="#ppt_y"/>
                                          </p:val>
                                        </p:tav>
                                      </p:tavLst>
                                    </p:anim>
                                    <p:animEffect transition="in" filter="wipe(up)">
                                      <p:cBhvr>
                                        <p:cTn id="142" dur="80"/>
                                        <p:tgtEl>
                                          <p:spTgt spid="142"/>
                                        </p:tgtEl>
                                      </p:cBhvr>
                                    </p:animEffect>
                                  </p:childTnLst>
                                </p:cTn>
                              </p:par>
                              <p:par>
                                <p:cTn id="143" presetID="10" presetClass="exit" presetSubtype="0" fill="hold" grpId="4" nodeType="withEffect">
                                  <p:stCondLst>
                                    <p:cond delay="900"/>
                                  </p:stCondLst>
                                  <p:childTnLst>
                                    <p:animEffect transition="out" filter="fade">
                                      <p:cBhvr>
                                        <p:cTn id="144" dur="150"/>
                                        <p:tgtEl>
                                          <p:spTgt spid="149"/>
                                        </p:tgtEl>
                                      </p:cBhvr>
                                    </p:animEffect>
                                    <p:set>
                                      <p:cBhvr>
                                        <p:cTn id="145" dur="1" fill="hold">
                                          <p:stCondLst>
                                            <p:cond delay="149"/>
                                          </p:stCondLst>
                                        </p:cTn>
                                        <p:tgtEl>
                                          <p:spTgt spid="149"/>
                                        </p:tgtEl>
                                        <p:attrNameLst>
                                          <p:attrName>style.visibility</p:attrName>
                                        </p:attrNameLst>
                                      </p:cBhvr>
                                      <p:to>
                                        <p:strVal val="hidden"/>
                                      </p:to>
                                    </p:set>
                                  </p:childTnLst>
                                </p:cTn>
                              </p:par>
                              <p:par>
                                <p:cTn id="146" presetID="10" presetClass="entr" presetSubtype="0" fill="hold" grpId="2" nodeType="withEffect">
                                  <p:stCondLst>
                                    <p:cond delay="900"/>
                                  </p:stCondLst>
                                  <p:childTnLst>
                                    <p:set>
                                      <p:cBhvr>
                                        <p:cTn id="147" dur="1" fill="hold">
                                          <p:stCondLst>
                                            <p:cond delay="0"/>
                                          </p:stCondLst>
                                        </p:cTn>
                                        <p:tgtEl>
                                          <p:spTgt spid="147"/>
                                        </p:tgtEl>
                                        <p:attrNameLst>
                                          <p:attrName>style.visibility</p:attrName>
                                        </p:attrNameLst>
                                      </p:cBhvr>
                                      <p:to>
                                        <p:strVal val="visible"/>
                                      </p:to>
                                    </p:set>
                                    <p:animEffect transition="in" filter="fade">
                                      <p:cBhvr>
                                        <p:cTn id="148" dur="150"/>
                                        <p:tgtEl>
                                          <p:spTgt spid="147"/>
                                        </p:tgtEl>
                                      </p:cBhvr>
                                    </p:animEffect>
                                  </p:childTnLst>
                                </p:cTn>
                              </p:par>
                              <p:par>
                                <p:cTn id="149" presetID="42" presetClass="path" presetSubtype="0" accel="50000" decel="50000" fill="hold" grpId="0" nodeType="withEffect">
                                  <p:stCondLst>
                                    <p:cond delay="900"/>
                                  </p:stCondLst>
                                  <p:childTnLst>
                                    <p:animMotion origin="layout" path="M 1.04167E-6 -2.59259E-6 L 0.00026 -0.20486 " pathEditMode="relative" rAng="0" ptsTypes="AA">
                                      <p:cBhvr>
                                        <p:cTn id="150" dur="150" fill="hold"/>
                                        <p:tgtEl>
                                          <p:spTgt spid="142"/>
                                        </p:tgtEl>
                                        <p:attrNameLst>
                                          <p:attrName>ppt_x</p:attrName>
                                          <p:attrName>ppt_y</p:attrName>
                                        </p:attrNameLst>
                                      </p:cBhvr>
                                      <p:rCtr x="13" y="-10255"/>
                                    </p:animMotion>
                                  </p:childTnLst>
                                </p:cTn>
                              </p:par>
                              <p:par>
                                <p:cTn id="151" presetID="22" presetClass="entr" presetSubtype="1" fill="hold" grpId="2" nodeType="withEffect">
                                  <p:stCondLst>
                                    <p:cond delay="900"/>
                                  </p:stCondLst>
                                  <p:childTnLst>
                                    <p:set>
                                      <p:cBhvr>
                                        <p:cTn id="152" dur="1" fill="hold">
                                          <p:stCondLst>
                                            <p:cond delay="0"/>
                                          </p:stCondLst>
                                        </p:cTn>
                                        <p:tgtEl>
                                          <p:spTgt spid="175"/>
                                        </p:tgtEl>
                                        <p:attrNameLst>
                                          <p:attrName>style.visibility</p:attrName>
                                        </p:attrNameLst>
                                      </p:cBhvr>
                                      <p:to>
                                        <p:strVal val="visible"/>
                                      </p:to>
                                    </p:set>
                                    <p:animEffect transition="in" filter="wipe(up)">
                                      <p:cBhvr>
                                        <p:cTn id="153" dur="150"/>
                                        <p:tgtEl>
                                          <p:spTgt spid="175"/>
                                        </p:tgtEl>
                                      </p:cBhvr>
                                    </p:animEffect>
                                  </p:childTnLst>
                                </p:cTn>
                              </p:par>
                              <p:par>
                                <p:cTn id="154" presetID="22" presetClass="entr" presetSubtype="1" fill="hold" grpId="1" nodeType="withEffect">
                                  <p:stCondLst>
                                    <p:cond delay="900"/>
                                  </p:stCondLst>
                                  <p:childTnLst>
                                    <p:set>
                                      <p:cBhvr>
                                        <p:cTn id="155" dur="1" fill="hold">
                                          <p:stCondLst>
                                            <p:cond delay="0"/>
                                          </p:stCondLst>
                                        </p:cTn>
                                        <p:tgtEl>
                                          <p:spTgt spid="174"/>
                                        </p:tgtEl>
                                        <p:attrNameLst>
                                          <p:attrName>style.visibility</p:attrName>
                                        </p:attrNameLst>
                                      </p:cBhvr>
                                      <p:to>
                                        <p:strVal val="visible"/>
                                      </p:to>
                                    </p:set>
                                    <p:animEffect transition="in" filter="wipe(up)">
                                      <p:cBhvr>
                                        <p:cTn id="156" dur="150"/>
                                        <p:tgtEl>
                                          <p:spTgt spid="174"/>
                                        </p:tgtEl>
                                      </p:cBhvr>
                                    </p:animEffect>
                                  </p:childTnLst>
                                </p:cTn>
                              </p:par>
                              <p:par>
                                <p:cTn id="157" presetID="22" presetClass="entr" presetSubtype="4" fill="hold" grpId="3" nodeType="withEffect">
                                  <p:stCondLst>
                                    <p:cond delay="900"/>
                                  </p:stCondLst>
                                  <p:childTnLst>
                                    <p:set>
                                      <p:cBhvr>
                                        <p:cTn id="158" dur="1" fill="hold">
                                          <p:stCondLst>
                                            <p:cond delay="0"/>
                                          </p:stCondLst>
                                        </p:cTn>
                                        <p:tgtEl>
                                          <p:spTgt spid="173"/>
                                        </p:tgtEl>
                                        <p:attrNameLst>
                                          <p:attrName>style.visibility</p:attrName>
                                        </p:attrNameLst>
                                      </p:cBhvr>
                                      <p:to>
                                        <p:strVal val="visible"/>
                                      </p:to>
                                    </p:set>
                                    <p:animEffect transition="in" filter="wipe(down)">
                                      <p:cBhvr>
                                        <p:cTn id="159" dur="150"/>
                                        <p:tgtEl>
                                          <p:spTgt spid="173"/>
                                        </p:tgtEl>
                                      </p:cBhvr>
                                    </p:animEffect>
                                  </p:childTnLst>
                                </p:cTn>
                              </p:par>
                              <p:par>
                                <p:cTn id="160" presetID="12" presetClass="entr" presetSubtype="4" fill="hold" grpId="1" nodeType="withEffect">
                                  <p:stCondLst>
                                    <p:cond delay="1000"/>
                                  </p:stCondLst>
                                  <p:childTnLst>
                                    <p:set>
                                      <p:cBhvr>
                                        <p:cTn id="161" dur="1" fill="hold">
                                          <p:stCondLst>
                                            <p:cond delay="0"/>
                                          </p:stCondLst>
                                        </p:cTn>
                                        <p:tgtEl>
                                          <p:spTgt spid="143"/>
                                        </p:tgtEl>
                                        <p:attrNameLst>
                                          <p:attrName>style.visibility</p:attrName>
                                        </p:attrNameLst>
                                      </p:cBhvr>
                                      <p:to>
                                        <p:strVal val="visible"/>
                                      </p:to>
                                    </p:set>
                                    <p:anim calcmode="lin" valueType="num">
                                      <p:cBhvr additive="base">
                                        <p:cTn id="162" dur="80"/>
                                        <p:tgtEl>
                                          <p:spTgt spid="143"/>
                                        </p:tgtEl>
                                        <p:attrNameLst>
                                          <p:attrName>ppt_y</p:attrName>
                                        </p:attrNameLst>
                                      </p:cBhvr>
                                      <p:tavLst>
                                        <p:tav tm="0">
                                          <p:val>
                                            <p:strVal val="#ppt_y+#ppt_h*1.125000"/>
                                          </p:val>
                                        </p:tav>
                                        <p:tav tm="100000">
                                          <p:val>
                                            <p:strVal val="#ppt_y"/>
                                          </p:val>
                                        </p:tav>
                                      </p:tavLst>
                                    </p:anim>
                                    <p:animEffect transition="in" filter="wipe(up)">
                                      <p:cBhvr>
                                        <p:cTn id="163" dur="80"/>
                                        <p:tgtEl>
                                          <p:spTgt spid="143"/>
                                        </p:tgtEl>
                                      </p:cBhvr>
                                    </p:animEffect>
                                  </p:childTnLst>
                                </p:cTn>
                              </p:par>
                              <p:par>
                                <p:cTn id="164" presetID="10" presetClass="exit" presetSubtype="0" fill="hold" grpId="4" nodeType="withEffect">
                                  <p:stCondLst>
                                    <p:cond delay="1000"/>
                                  </p:stCondLst>
                                  <p:childTnLst>
                                    <p:animEffect transition="out" filter="fade">
                                      <p:cBhvr>
                                        <p:cTn id="165" dur="150"/>
                                        <p:tgtEl>
                                          <p:spTgt spid="147"/>
                                        </p:tgtEl>
                                      </p:cBhvr>
                                    </p:animEffect>
                                    <p:set>
                                      <p:cBhvr>
                                        <p:cTn id="166" dur="1" fill="hold">
                                          <p:stCondLst>
                                            <p:cond delay="149"/>
                                          </p:stCondLst>
                                        </p:cTn>
                                        <p:tgtEl>
                                          <p:spTgt spid="147"/>
                                        </p:tgtEl>
                                        <p:attrNameLst>
                                          <p:attrName>style.visibility</p:attrName>
                                        </p:attrNameLst>
                                      </p:cBhvr>
                                      <p:to>
                                        <p:strVal val="hidden"/>
                                      </p:to>
                                    </p:set>
                                  </p:childTnLst>
                                </p:cTn>
                              </p:par>
                              <p:par>
                                <p:cTn id="167" presetID="10" presetClass="entr" presetSubtype="0" fill="hold" grpId="2" nodeType="withEffect">
                                  <p:stCondLst>
                                    <p:cond delay="1000"/>
                                  </p:stCondLst>
                                  <p:childTnLst>
                                    <p:set>
                                      <p:cBhvr>
                                        <p:cTn id="168" dur="1" fill="hold">
                                          <p:stCondLst>
                                            <p:cond delay="0"/>
                                          </p:stCondLst>
                                        </p:cTn>
                                        <p:tgtEl>
                                          <p:spTgt spid="148"/>
                                        </p:tgtEl>
                                        <p:attrNameLst>
                                          <p:attrName>style.visibility</p:attrName>
                                        </p:attrNameLst>
                                      </p:cBhvr>
                                      <p:to>
                                        <p:strVal val="visible"/>
                                      </p:to>
                                    </p:set>
                                    <p:animEffect transition="in" filter="fade">
                                      <p:cBhvr>
                                        <p:cTn id="169" dur="150"/>
                                        <p:tgtEl>
                                          <p:spTgt spid="148"/>
                                        </p:tgtEl>
                                      </p:cBhvr>
                                    </p:animEffect>
                                  </p:childTnLst>
                                </p:cTn>
                              </p:par>
                              <p:par>
                                <p:cTn id="170" presetID="42" presetClass="path" presetSubtype="0" accel="50000" decel="50000" fill="hold" grpId="0" nodeType="withEffect">
                                  <p:stCondLst>
                                    <p:cond delay="1000"/>
                                  </p:stCondLst>
                                  <p:childTnLst>
                                    <p:animMotion origin="layout" path="M 1.04167E-6 -2.59259E-6 L 1.04167E-6 -0.10208 " pathEditMode="relative" rAng="0" ptsTypes="AA">
                                      <p:cBhvr>
                                        <p:cTn id="171" dur="150" fill="hold"/>
                                        <p:tgtEl>
                                          <p:spTgt spid="143"/>
                                        </p:tgtEl>
                                        <p:attrNameLst>
                                          <p:attrName>ppt_x</p:attrName>
                                          <p:attrName>ppt_y</p:attrName>
                                        </p:attrNameLst>
                                      </p:cBhvr>
                                      <p:rCtr x="0" y="-5116"/>
                                    </p:animMotion>
                                  </p:childTnLst>
                                </p:cTn>
                              </p:par>
                              <p:par>
                                <p:cTn id="172" presetID="22" presetClass="entr" presetSubtype="1" fill="hold" grpId="4" nodeType="withEffect">
                                  <p:stCondLst>
                                    <p:cond delay="1000"/>
                                  </p:stCondLst>
                                  <p:childTnLst>
                                    <p:set>
                                      <p:cBhvr>
                                        <p:cTn id="173" dur="1" fill="hold">
                                          <p:stCondLst>
                                            <p:cond delay="0"/>
                                          </p:stCondLst>
                                        </p:cTn>
                                        <p:tgtEl>
                                          <p:spTgt spid="164"/>
                                        </p:tgtEl>
                                        <p:attrNameLst>
                                          <p:attrName>style.visibility</p:attrName>
                                        </p:attrNameLst>
                                      </p:cBhvr>
                                      <p:to>
                                        <p:strVal val="visible"/>
                                      </p:to>
                                    </p:set>
                                    <p:animEffect transition="in" filter="wipe(up)">
                                      <p:cBhvr>
                                        <p:cTn id="174" dur="150"/>
                                        <p:tgtEl>
                                          <p:spTgt spid="164"/>
                                        </p:tgtEl>
                                      </p:cBhvr>
                                    </p:animEffect>
                                  </p:childTnLst>
                                </p:cTn>
                              </p:par>
                              <p:par>
                                <p:cTn id="175" presetID="12" presetClass="entr" presetSubtype="1" fill="hold" grpId="1" nodeType="withEffect">
                                  <p:stCondLst>
                                    <p:cond delay="1100"/>
                                  </p:stCondLst>
                                  <p:childTnLst>
                                    <p:set>
                                      <p:cBhvr>
                                        <p:cTn id="176" dur="1" fill="hold">
                                          <p:stCondLst>
                                            <p:cond delay="0"/>
                                          </p:stCondLst>
                                        </p:cTn>
                                        <p:tgtEl>
                                          <p:spTgt spid="145"/>
                                        </p:tgtEl>
                                        <p:attrNameLst>
                                          <p:attrName>style.visibility</p:attrName>
                                        </p:attrNameLst>
                                      </p:cBhvr>
                                      <p:to>
                                        <p:strVal val="visible"/>
                                      </p:to>
                                    </p:set>
                                    <p:anim calcmode="lin" valueType="num">
                                      <p:cBhvr additive="base">
                                        <p:cTn id="177" dur="80"/>
                                        <p:tgtEl>
                                          <p:spTgt spid="145"/>
                                        </p:tgtEl>
                                        <p:attrNameLst>
                                          <p:attrName>ppt_y</p:attrName>
                                        </p:attrNameLst>
                                      </p:cBhvr>
                                      <p:tavLst>
                                        <p:tav tm="0">
                                          <p:val>
                                            <p:strVal val="#ppt_y-#ppt_h*1.125000"/>
                                          </p:val>
                                        </p:tav>
                                        <p:tav tm="100000">
                                          <p:val>
                                            <p:strVal val="#ppt_y"/>
                                          </p:val>
                                        </p:tav>
                                      </p:tavLst>
                                    </p:anim>
                                    <p:animEffect transition="in" filter="wipe(down)">
                                      <p:cBhvr>
                                        <p:cTn id="178" dur="80"/>
                                        <p:tgtEl>
                                          <p:spTgt spid="145"/>
                                        </p:tgtEl>
                                      </p:cBhvr>
                                    </p:animEffect>
                                  </p:childTnLst>
                                </p:cTn>
                              </p:par>
                              <p:par>
                                <p:cTn id="179" presetID="10" presetClass="entr" presetSubtype="0" fill="hold" grpId="2" nodeType="withEffect">
                                  <p:stCondLst>
                                    <p:cond delay="1100"/>
                                  </p:stCondLst>
                                  <p:childTnLst>
                                    <p:set>
                                      <p:cBhvr>
                                        <p:cTn id="180" dur="1" fill="hold">
                                          <p:stCondLst>
                                            <p:cond delay="0"/>
                                          </p:stCondLst>
                                        </p:cTn>
                                        <p:tgtEl>
                                          <p:spTgt spid="149"/>
                                        </p:tgtEl>
                                        <p:attrNameLst>
                                          <p:attrName>style.visibility</p:attrName>
                                        </p:attrNameLst>
                                      </p:cBhvr>
                                      <p:to>
                                        <p:strVal val="visible"/>
                                      </p:to>
                                    </p:set>
                                    <p:animEffect transition="in" filter="fade">
                                      <p:cBhvr>
                                        <p:cTn id="181" dur="150"/>
                                        <p:tgtEl>
                                          <p:spTgt spid="149"/>
                                        </p:tgtEl>
                                      </p:cBhvr>
                                    </p:animEffect>
                                  </p:childTnLst>
                                </p:cTn>
                              </p:par>
                              <p:par>
                                <p:cTn id="182" presetID="10" presetClass="exit" presetSubtype="0" fill="hold" grpId="4" nodeType="withEffect">
                                  <p:stCondLst>
                                    <p:cond delay="1100"/>
                                  </p:stCondLst>
                                  <p:childTnLst>
                                    <p:animEffect transition="out" filter="fade">
                                      <p:cBhvr>
                                        <p:cTn id="183" dur="150"/>
                                        <p:tgtEl>
                                          <p:spTgt spid="148"/>
                                        </p:tgtEl>
                                      </p:cBhvr>
                                    </p:animEffect>
                                    <p:set>
                                      <p:cBhvr>
                                        <p:cTn id="184" dur="1" fill="hold">
                                          <p:stCondLst>
                                            <p:cond delay="149"/>
                                          </p:stCondLst>
                                        </p:cTn>
                                        <p:tgtEl>
                                          <p:spTgt spid="148"/>
                                        </p:tgtEl>
                                        <p:attrNameLst>
                                          <p:attrName>style.visibility</p:attrName>
                                        </p:attrNameLst>
                                      </p:cBhvr>
                                      <p:to>
                                        <p:strVal val="hidden"/>
                                      </p:to>
                                    </p:set>
                                  </p:childTnLst>
                                </p:cTn>
                              </p:par>
                              <p:par>
                                <p:cTn id="185" presetID="42" presetClass="path" presetSubtype="0" accel="50000" decel="50000" fill="hold" grpId="0" nodeType="withEffect">
                                  <p:stCondLst>
                                    <p:cond delay="1100"/>
                                  </p:stCondLst>
                                  <p:childTnLst>
                                    <p:animMotion origin="layout" path="M 1.04167E-6 -2.59259E-6 L -0.00026 0.10047 " pathEditMode="relative" rAng="0" ptsTypes="AA">
                                      <p:cBhvr>
                                        <p:cTn id="186" dur="150" fill="hold"/>
                                        <p:tgtEl>
                                          <p:spTgt spid="145"/>
                                        </p:tgtEl>
                                        <p:attrNameLst>
                                          <p:attrName>ppt_x</p:attrName>
                                          <p:attrName>ppt_y</p:attrName>
                                        </p:attrNameLst>
                                      </p:cBhvr>
                                      <p:rCtr x="-13" y="5023"/>
                                    </p:animMotion>
                                  </p:childTnLst>
                                </p:cTn>
                              </p:par>
                              <p:par>
                                <p:cTn id="187" presetID="22" presetClass="exit" presetSubtype="1" fill="hold" grpId="4" nodeType="withEffect">
                                  <p:stCondLst>
                                    <p:cond delay="1100"/>
                                  </p:stCondLst>
                                  <p:childTnLst>
                                    <p:animEffect transition="out" filter="wipe(up)">
                                      <p:cBhvr>
                                        <p:cTn id="188" dur="150"/>
                                        <p:tgtEl>
                                          <p:spTgt spid="173"/>
                                        </p:tgtEl>
                                      </p:cBhvr>
                                    </p:animEffect>
                                    <p:set>
                                      <p:cBhvr>
                                        <p:cTn id="189" dur="1" fill="hold">
                                          <p:stCondLst>
                                            <p:cond delay="149"/>
                                          </p:stCondLst>
                                        </p:cTn>
                                        <p:tgtEl>
                                          <p:spTgt spid="173"/>
                                        </p:tgtEl>
                                        <p:attrNameLst>
                                          <p:attrName>style.visibility</p:attrName>
                                        </p:attrNameLst>
                                      </p:cBhvr>
                                      <p:to>
                                        <p:strVal val="hidden"/>
                                      </p:to>
                                    </p:set>
                                  </p:childTnLst>
                                </p:cTn>
                              </p:par>
                              <p:par>
                                <p:cTn id="190" presetID="22" presetClass="exit" presetSubtype="1" fill="hold" grpId="2" nodeType="withEffect">
                                  <p:stCondLst>
                                    <p:cond delay="1100"/>
                                  </p:stCondLst>
                                  <p:childTnLst>
                                    <p:animEffect transition="out" filter="wipe(up)">
                                      <p:cBhvr>
                                        <p:cTn id="191" dur="150"/>
                                        <p:tgtEl>
                                          <p:spTgt spid="171"/>
                                        </p:tgtEl>
                                      </p:cBhvr>
                                    </p:animEffect>
                                    <p:set>
                                      <p:cBhvr>
                                        <p:cTn id="192" dur="1" fill="hold">
                                          <p:stCondLst>
                                            <p:cond delay="149"/>
                                          </p:stCondLst>
                                        </p:cTn>
                                        <p:tgtEl>
                                          <p:spTgt spid="171"/>
                                        </p:tgtEl>
                                        <p:attrNameLst>
                                          <p:attrName>style.visibility</p:attrName>
                                        </p:attrNameLst>
                                      </p:cBhvr>
                                      <p:to>
                                        <p:strVal val="hidden"/>
                                      </p:to>
                                    </p:set>
                                  </p:childTnLst>
                                </p:cTn>
                              </p:par>
                              <p:par>
                                <p:cTn id="193" presetID="22" presetClass="exit" presetSubtype="1" fill="hold" grpId="2" nodeType="withEffect">
                                  <p:stCondLst>
                                    <p:cond delay="1100"/>
                                  </p:stCondLst>
                                  <p:childTnLst>
                                    <p:animEffect transition="out" filter="wipe(up)">
                                      <p:cBhvr>
                                        <p:cTn id="194" dur="150"/>
                                        <p:tgtEl>
                                          <p:spTgt spid="174"/>
                                        </p:tgtEl>
                                      </p:cBhvr>
                                    </p:animEffect>
                                    <p:set>
                                      <p:cBhvr>
                                        <p:cTn id="195" dur="1" fill="hold">
                                          <p:stCondLst>
                                            <p:cond delay="149"/>
                                          </p:stCondLst>
                                        </p:cTn>
                                        <p:tgtEl>
                                          <p:spTgt spid="174"/>
                                        </p:tgtEl>
                                        <p:attrNameLst>
                                          <p:attrName>style.visibility</p:attrName>
                                        </p:attrNameLst>
                                      </p:cBhvr>
                                      <p:to>
                                        <p:strVal val="hidden"/>
                                      </p:to>
                                    </p:set>
                                  </p:childTnLst>
                                </p:cTn>
                              </p:par>
                              <p:par>
                                <p:cTn id="196" presetID="12" presetClass="entr" presetSubtype="1" fill="hold" grpId="1" nodeType="withEffect">
                                  <p:stCondLst>
                                    <p:cond delay="1200"/>
                                  </p:stCondLst>
                                  <p:childTnLst>
                                    <p:set>
                                      <p:cBhvr>
                                        <p:cTn id="197" dur="1" fill="hold">
                                          <p:stCondLst>
                                            <p:cond delay="0"/>
                                          </p:stCondLst>
                                        </p:cTn>
                                        <p:tgtEl>
                                          <p:spTgt spid="146"/>
                                        </p:tgtEl>
                                        <p:attrNameLst>
                                          <p:attrName>style.visibility</p:attrName>
                                        </p:attrNameLst>
                                      </p:cBhvr>
                                      <p:to>
                                        <p:strVal val="visible"/>
                                      </p:to>
                                    </p:set>
                                    <p:anim calcmode="lin" valueType="num">
                                      <p:cBhvr additive="base">
                                        <p:cTn id="198" dur="80"/>
                                        <p:tgtEl>
                                          <p:spTgt spid="146"/>
                                        </p:tgtEl>
                                        <p:attrNameLst>
                                          <p:attrName>ppt_y</p:attrName>
                                        </p:attrNameLst>
                                      </p:cBhvr>
                                      <p:tavLst>
                                        <p:tav tm="0">
                                          <p:val>
                                            <p:strVal val="#ppt_y-#ppt_h*1.125000"/>
                                          </p:val>
                                        </p:tav>
                                        <p:tav tm="100000">
                                          <p:val>
                                            <p:strVal val="#ppt_y"/>
                                          </p:val>
                                        </p:tav>
                                      </p:tavLst>
                                    </p:anim>
                                    <p:animEffect transition="in" filter="wipe(down)">
                                      <p:cBhvr>
                                        <p:cTn id="199" dur="80"/>
                                        <p:tgtEl>
                                          <p:spTgt spid="146"/>
                                        </p:tgtEl>
                                      </p:cBhvr>
                                    </p:animEffect>
                                  </p:childTnLst>
                                </p:cTn>
                              </p:par>
                              <p:par>
                                <p:cTn id="200" presetID="10" presetClass="exit" presetSubtype="0" fill="hold" grpId="5" nodeType="withEffect">
                                  <p:stCondLst>
                                    <p:cond delay="1200"/>
                                  </p:stCondLst>
                                  <p:childTnLst>
                                    <p:animEffect transition="out" filter="fade">
                                      <p:cBhvr>
                                        <p:cTn id="201" dur="150"/>
                                        <p:tgtEl>
                                          <p:spTgt spid="149"/>
                                        </p:tgtEl>
                                      </p:cBhvr>
                                    </p:animEffect>
                                    <p:set>
                                      <p:cBhvr>
                                        <p:cTn id="202" dur="1" fill="hold">
                                          <p:stCondLst>
                                            <p:cond delay="149"/>
                                          </p:stCondLst>
                                        </p:cTn>
                                        <p:tgtEl>
                                          <p:spTgt spid="149"/>
                                        </p:tgtEl>
                                        <p:attrNameLst>
                                          <p:attrName>style.visibility</p:attrName>
                                        </p:attrNameLst>
                                      </p:cBhvr>
                                      <p:to>
                                        <p:strVal val="hidden"/>
                                      </p:to>
                                    </p:set>
                                  </p:childTnLst>
                                </p:cTn>
                              </p:par>
                              <p:par>
                                <p:cTn id="203" presetID="10" presetClass="entr" presetSubtype="0" fill="hold" grpId="2" nodeType="withEffect">
                                  <p:stCondLst>
                                    <p:cond delay="1200"/>
                                  </p:stCondLst>
                                  <p:childTnLst>
                                    <p:set>
                                      <p:cBhvr>
                                        <p:cTn id="204" dur="1" fill="hold">
                                          <p:stCondLst>
                                            <p:cond delay="0"/>
                                          </p:stCondLst>
                                        </p:cTn>
                                        <p:tgtEl>
                                          <p:spTgt spid="150"/>
                                        </p:tgtEl>
                                        <p:attrNameLst>
                                          <p:attrName>style.visibility</p:attrName>
                                        </p:attrNameLst>
                                      </p:cBhvr>
                                      <p:to>
                                        <p:strVal val="visible"/>
                                      </p:to>
                                    </p:set>
                                    <p:animEffect transition="in" filter="fade">
                                      <p:cBhvr>
                                        <p:cTn id="205" dur="150"/>
                                        <p:tgtEl>
                                          <p:spTgt spid="150"/>
                                        </p:tgtEl>
                                      </p:cBhvr>
                                    </p:animEffect>
                                  </p:childTnLst>
                                </p:cTn>
                              </p:par>
                              <p:par>
                                <p:cTn id="206" presetID="42" presetClass="path" presetSubtype="0" accel="50000" decel="50000" fill="hold" grpId="0" nodeType="withEffect">
                                  <p:stCondLst>
                                    <p:cond delay="1200"/>
                                  </p:stCondLst>
                                  <p:childTnLst>
                                    <p:animMotion origin="layout" path="M 1.04167E-6 -2.59259E-6 L -0.00013 0.20139 " pathEditMode="relative" rAng="0" ptsTypes="AA">
                                      <p:cBhvr>
                                        <p:cTn id="207" dur="150" fill="hold"/>
                                        <p:tgtEl>
                                          <p:spTgt spid="146"/>
                                        </p:tgtEl>
                                        <p:attrNameLst>
                                          <p:attrName>ppt_x</p:attrName>
                                          <p:attrName>ppt_y</p:attrName>
                                        </p:attrNameLst>
                                      </p:cBhvr>
                                      <p:rCtr x="-13" y="10069"/>
                                    </p:animMotion>
                                  </p:childTnLst>
                                </p:cTn>
                              </p:par>
                              <p:par>
                                <p:cTn id="208" presetID="22" presetClass="entr" presetSubtype="4" fill="hold" grpId="3" nodeType="withEffect">
                                  <p:stCondLst>
                                    <p:cond delay="1250"/>
                                  </p:stCondLst>
                                  <p:childTnLst>
                                    <p:set>
                                      <p:cBhvr>
                                        <p:cTn id="209" dur="1" fill="hold">
                                          <p:stCondLst>
                                            <p:cond delay="0"/>
                                          </p:stCondLst>
                                        </p:cTn>
                                        <p:tgtEl>
                                          <p:spTgt spid="174"/>
                                        </p:tgtEl>
                                        <p:attrNameLst>
                                          <p:attrName>style.visibility</p:attrName>
                                        </p:attrNameLst>
                                      </p:cBhvr>
                                      <p:to>
                                        <p:strVal val="visible"/>
                                      </p:to>
                                    </p:set>
                                    <p:animEffect transition="in" filter="wipe(down)">
                                      <p:cBhvr>
                                        <p:cTn id="210" dur="150"/>
                                        <p:tgtEl>
                                          <p:spTgt spid="174"/>
                                        </p:tgtEl>
                                      </p:cBhvr>
                                    </p:animEffect>
                                  </p:childTnLst>
                                </p:cTn>
                              </p:par>
                              <p:par>
                                <p:cTn id="211" presetID="12" presetClass="entr" presetSubtype="8" fill="hold" grpId="0" nodeType="withEffect">
                                  <p:stCondLst>
                                    <p:cond delay="1300"/>
                                  </p:stCondLst>
                                  <p:childTnLst>
                                    <p:set>
                                      <p:cBhvr>
                                        <p:cTn id="212" dur="1" fill="hold">
                                          <p:stCondLst>
                                            <p:cond delay="0"/>
                                          </p:stCondLst>
                                        </p:cTn>
                                        <p:tgtEl>
                                          <p:spTgt spid="144"/>
                                        </p:tgtEl>
                                        <p:attrNameLst>
                                          <p:attrName>style.visibility</p:attrName>
                                        </p:attrNameLst>
                                      </p:cBhvr>
                                      <p:to>
                                        <p:strVal val="visible"/>
                                      </p:to>
                                    </p:set>
                                    <p:anim calcmode="lin" valueType="num">
                                      <p:cBhvr additive="base">
                                        <p:cTn id="213" dur="80"/>
                                        <p:tgtEl>
                                          <p:spTgt spid="144"/>
                                        </p:tgtEl>
                                        <p:attrNameLst>
                                          <p:attrName>ppt_x</p:attrName>
                                        </p:attrNameLst>
                                      </p:cBhvr>
                                      <p:tavLst>
                                        <p:tav tm="0">
                                          <p:val>
                                            <p:strVal val="#ppt_x-#ppt_w*1.125000"/>
                                          </p:val>
                                        </p:tav>
                                        <p:tav tm="100000">
                                          <p:val>
                                            <p:strVal val="#ppt_x"/>
                                          </p:val>
                                        </p:tav>
                                      </p:tavLst>
                                    </p:anim>
                                    <p:animEffect transition="in" filter="wipe(right)">
                                      <p:cBhvr>
                                        <p:cTn id="214" dur="80"/>
                                        <p:tgtEl>
                                          <p:spTgt spid="144"/>
                                        </p:tgtEl>
                                      </p:cBhvr>
                                    </p:animEffect>
                                  </p:childTnLst>
                                </p:cTn>
                              </p:par>
                              <p:par>
                                <p:cTn id="215" presetID="10" presetClass="exit" presetSubtype="0" fill="hold" grpId="4" nodeType="withEffect">
                                  <p:stCondLst>
                                    <p:cond delay="1300"/>
                                  </p:stCondLst>
                                  <p:childTnLst>
                                    <p:animEffect transition="out" filter="fade">
                                      <p:cBhvr>
                                        <p:cTn id="216" dur="150"/>
                                        <p:tgtEl>
                                          <p:spTgt spid="150"/>
                                        </p:tgtEl>
                                      </p:cBhvr>
                                    </p:animEffect>
                                    <p:set>
                                      <p:cBhvr>
                                        <p:cTn id="217" dur="1" fill="hold">
                                          <p:stCondLst>
                                            <p:cond delay="149"/>
                                          </p:stCondLst>
                                        </p:cTn>
                                        <p:tgtEl>
                                          <p:spTgt spid="150"/>
                                        </p:tgtEl>
                                        <p:attrNameLst>
                                          <p:attrName>style.visibility</p:attrName>
                                        </p:attrNameLst>
                                      </p:cBhvr>
                                      <p:to>
                                        <p:strVal val="hidden"/>
                                      </p:to>
                                    </p:set>
                                  </p:childTnLst>
                                </p:cTn>
                              </p:par>
                              <p:par>
                                <p:cTn id="218" presetID="10" presetClass="entr" presetSubtype="0" fill="hold" grpId="1" nodeType="withEffect">
                                  <p:stCondLst>
                                    <p:cond delay="1400"/>
                                  </p:stCondLst>
                                  <p:childTnLst>
                                    <p:set>
                                      <p:cBhvr>
                                        <p:cTn id="219" dur="1" fill="hold">
                                          <p:stCondLst>
                                            <p:cond delay="0"/>
                                          </p:stCondLst>
                                        </p:cTn>
                                        <p:tgtEl>
                                          <p:spTgt spid="148"/>
                                        </p:tgtEl>
                                        <p:attrNameLst>
                                          <p:attrName>style.visibility</p:attrName>
                                        </p:attrNameLst>
                                      </p:cBhvr>
                                      <p:to>
                                        <p:strVal val="visible"/>
                                      </p:to>
                                    </p:set>
                                    <p:animEffect transition="in" filter="fade">
                                      <p:cBhvr>
                                        <p:cTn id="220" dur="150"/>
                                        <p:tgtEl>
                                          <p:spTgt spid="148"/>
                                        </p:tgtEl>
                                      </p:cBhvr>
                                    </p:animEffect>
                                  </p:childTnLst>
                                </p:cTn>
                              </p:par>
                              <p:par>
                                <p:cTn id="221" presetID="0" presetClass="path" presetSubtype="0" accel="3226" decel="3226" fill="hold" grpId="0" nodeType="withEffect">
                                  <p:stCondLst>
                                    <p:cond delay="0"/>
                                  </p:stCondLst>
                                  <p:childTnLst>
                                    <p:animMotion origin="layout" path="M -0.00013 0.00046 L -0.05299 0.00046 L -0.02656 0.00046 L -0.07904 0.00046 L 0.01328 0.00046 " pathEditMode="relative" ptsTypes="AAAAA">
                                      <p:cBhvr>
                                        <p:cTn id="222" dur="1550" fill="hold"/>
                                        <p:tgtEl>
                                          <p:spTgt spid="124"/>
                                        </p:tgtEl>
                                        <p:attrNameLst>
                                          <p:attrName>ppt_x</p:attrName>
                                          <p:attrName>ppt_y</p:attrName>
                                        </p:attrNameLst>
                                      </p:cBhvr>
                                    </p:animMotion>
                                  </p:childTnLst>
                                </p:cTn>
                              </p:par>
                              <p:par>
                                <p:cTn id="223" presetID="0" presetClass="path" presetSubtype="0" accel="3226" decel="3226" fill="hold" grpId="0" nodeType="withEffect">
                                  <p:stCondLst>
                                    <p:cond delay="0"/>
                                  </p:stCondLst>
                                  <p:childTnLst>
                                    <p:animMotion origin="layout" path="M -1.25E-6 0.00047 L -0.06601 0.00047 L -0.0263 0.00047 L -0.10573 0.00047 L -0.03945 0.00047 L -0.06601 0.00047 " pathEditMode="relative" ptsTypes="AAAAAA">
                                      <p:cBhvr>
                                        <p:cTn id="224" dur="1550" fill="hold"/>
                                        <p:tgtEl>
                                          <p:spTgt spid="125"/>
                                        </p:tgtEl>
                                        <p:attrNameLst>
                                          <p:attrName>ppt_x</p:attrName>
                                          <p:attrName>ppt_y</p:attrName>
                                        </p:attrNameLst>
                                      </p:cBhvr>
                                    </p:animMotion>
                                  </p:childTnLst>
                                </p:cTn>
                              </p:par>
                              <p:par>
                                <p:cTn id="225" presetID="0" presetClass="path" presetSubtype="0" accel="3226" decel="3226" fill="hold" grpId="0" nodeType="withEffect">
                                  <p:stCondLst>
                                    <p:cond delay="0"/>
                                  </p:stCondLst>
                                  <p:childTnLst>
                                    <p:animMotion origin="layout" path="M 3.125E-6 0.00046 L -0.02657 0.00046 L 0.0401 0.00046 L 0.01341 0.00046 L 0.05299 0.00046 L -0.01328 0.00046 " pathEditMode="relative" ptsTypes="AAAAAA">
                                      <p:cBhvr>
                                        <p:cTn id="226" dur="1550" fill="hold"/>
                                        <p:tgtEl>
                                          <p:spTgt spid="111"/>
                                        </p:tgtEl>
                                        <p:attrNameLst>
                                          <p:attrName>ppt_x</p:attrName>
                                          <p:attrName>ppt_y</p:attrName>
                                        </p:attrNameLst>
                                      </p:cBhvr>
                                    </p:animMotion>
                                  </p:childTnLst>
                                </p:cTn>
                              </p:par>
                              <p:par>
                                <p:cTn id="227" presetID="0" presetClass="path" presetSubtype="0" accel="3226" decel="3226" fill="hold" grpId="0" nodeType="withEffect">
                                  <p:stCondLst>
                                    <p:cond delay="0"/>
                                  </p:stCondLst>
                                  <p:childTnLst>
                                    <p:animMotion origin="layout" path="M 5E-6 0.00092 L 0.01355 0.00092 L -0.02578 0.00092 L 0.03985 0.00092 L 0.0668 0.00092 L 0.05313 0.00092 " pathEditMode="relative" ptsTypes="AAAAAA">
                                      <p:cBhvr>
                                        <p:cTn id="228" dur="1550" fill="hold"/>
                                        <p:tgtEl>
                                          <p:spTgt spid="98"/>
                                        </p:tgtEl>
                                        <p:attrNameLst>
                                          <p:attrName>ppt_x</p:attrName>
                                          <p:attrName>ppt_y</p:attrName>
                                        </p:attrNameLst>
                                      </p:cBhvr>
                                    </p:animMotion>
                                  </p:childTnLst>
                                </p:cTn>
                              </p:par>
                              <p:par>
                                <p:cTn id="229" presetID="0" presetClass="path" presetSubtype="0" accel="3226" decel="3226" fill="hold" grpId="0" nodeType="withEffect">
                                  <p:stCondLst>
                                    <p:cond delay="0"/>
                                  </p:stCondLst>
                                  <p:childTnLst>
                                    <p:animMotion origin="layout" path="M -0.00013 0.00047 L 0.0263 0.00047 L -0.01289 0.00047 L 0.03997 0.00047 L -0.05274 0.00047 L -0.02682 0.00047 " pathEditMode="relative" ptsTypes="AAAAAA">
                                      <p:cBhvr>
                                        <p:cTn id="230" dur="1550" fill="hold"/>
                                        <p:tgtEl>
                                          <p:spTgt spid="120"/>
                                        </p:tgtEl>
                                        <p:attrNameLst>
                                          <p:attrName>ppt_x</p:attrName>
                                          <p:attrName>ppt_y</p:attrName>
                                        </p:attrNameLst>
                                      </p:cBhvr>
                                    </p:animMotion>
                                  </p:childTnLst>
                                </p:cTn>
                              </p:par>
                            </p:childTnLst>
                          </p:cTn>
                        </p:par>
                        <p:par>
                          <p:cTn id="231" fill="hold">
                            <p:stCondLst>
                              <p:cond delay="1550"/>
                            </p:stCondLst>
                            <p:childTnLst>
                              <p:par>
                                <p:cTn id="232" presetID="1" presetClass="emph" presetSubtype="2" fill="hold" nodeType="afterEffect">
                                  <p:stCondLst>
                                    <p:cond delay="500"/>
                                  </p:stCondLst>
                                  <p:childTnLst>
                                    <p:animClr clrSpc="rgb" dir="cw">
                                      <p:cBhvr>
                                        <p:cTn id="233" dur="500" fill="hold"/>
                                        <p:tgtEl>
                                          <p:spTgt spid="139"/>
                                        </p:tgtEl>
                                        <p:attrNameLst>
                                          <p:attrName>fillcolor</p:attrName>
                                        </p:attrNameLst>
                                      </p:cBhvr>
                                      <p:to>
                                        <a:srgbClr val="50E6FF"/>
                                      </p:to>
                                    </p:animClr>
                                    <p:set>
                                      <p:cBhvr>
                                        <p:cTn id="234" dur="500" fill="hold"/>
                                        <p:tgtEl>
                                          <p:spTgt spid="139"/>
                                        </p:tgtEl>
                                        <p:attrNameLst>
                                          <p:attrName>fill.type</p:attrName>
                                        </p:attrNameLst>
                                      </p:cBhvr>
                                      <p:to>
                                        <p:strVal val="solid"/>
                                      </p:to>
                                    </p:set>
                                    <p:set>
                                      <p:cBhvr>
                                        <p:cTn id="235" dur="500" fill="hold"/>
                                        <p:tgtEl>
                                          <p:spTgt spid="139"/>
                                        </p:tgtEl>
                                        <p:attrNameLst>
                                          <p:attrName>fill.on</p:attrName>
                                        </p:attrNameLst>
                                      </p:cBhvr>
                                      <p:to>
                                        <p:strVal val="true"/>
                                      </p:to>
                                    </p:set>
                                  </p:childTnLst>
                                </p:cTn>
                              </p:par>
                              <p:par>
                                <p:cTn id="236" presetID="3" presetClass="emph" presetSubtype="2" fill="hold" grpId="2" nodeType="withEffect">
                                  <p:stCondLst>
                                    <p:cond delay="500"/>
                                  </p:stCondLst>
                                  <p:childTnLst>
                                    <p:animClr clrSpc="rgb" dir="cw">
                                      <p:cBhvr override="childStyle">
                                        <p:cTn id="237" dur="500" fill="hold"/>
                                        <p:tgtEl>
                                          <p:spTgt spid="139"/>
                                        </p:tgtEl>
                                        <p:attrNameLst>
                                          <p:attrName>style.color</p:attrName>
                                        </p:attrNameLst>
                                      </p:cBhvr>
                                      <p:to>
                                        <a:srgbClr val="000000"/>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6" grpId="0" animBg="1"/>
      <p:bldP spid="136" grpId="1" animBg="1"/>
      <p:bldP spid="136" grpId="2" animBg="1"/>
      <p:bldP spid="147" grpId="0" animBg="1"/>
      <p:bldP spid="147" grpId="1" animBg="1"/>
      <p:bldP spid="147" grpId="2" animBg="1"/>
      <p:bldP spid="147" grpId="3" animBg="1"/>
      <p:bldP spid="147" grpId="4" animBg="1"/>
      <p:bldP spid="147" grpId="5" animBg="1"/>
      <p:bldP spid="148" grpId="0" animBg="1"/>
      <p:bldP spid="148" grpId="1" animBg="1"/>
      <p:bldP spid="148" grpId="2" animBg="1"/>
      <p:bldP spid="148" grpId="3" animBg="1"/>
      <p:bldP spid="148" grpId="4" animBg="1"/>
      <p:bldP spid="149" grpId="0" animBg="1"/>
      <p:bldP spid="149" grpId="1" animBg="1"/>
      <p:bldP spid="149" grpId="2" animBg="1"/>
      <p:bldP spid="149" grpId="3" animBg="1"/>
      <p:bldP spid="149" grpId="4" animBg="1"/>
      <p:bldP spid="149" grpId="5" animBg="1"/>
      <p:bldP spid="150" grpId="0" animBg="1"/>
      <p:bldP spid="150" grpId="1" animBg="1"/>
      <p:bldP spid="150" grpId="2" animBg="1"/>
      <p:bldP spid="150" grpId="3" animBg="1"/>
      <p:bldP spid="150" grpId="4" animBg="1"/>
      <p:bldP spid="150" grpId="5" animBg="1"/>
      <p:bldP spid="80" grpId="0" animBg="1"/>
      <p:bldP spid="90" grpId="0" animBg="1"/>
      <p:bldP spid="90" grpId="1" animBg="1"/>
      <p:bldP spid="91" grpId="0" animBg="1"/>
      <p:bldP spid="91" grpId="1" animBg="1"/>
      <p:bldP spid="123" grpId="0" animBg="1"/>
      <p:bldP spid="123" grpId="1" animBg="1"/>
      <p:bldP spid="137" grpId="0" animBg="1"/>
      <p:bldP spid="137" grpId="1" animBg="1"/>
      <p:bldP spid="138" grpId="0" animBg="1"/>
      <p:bldP spid="138" grpId="1" animBg="1"/>
      <p:bldP spid="139" grpId="0" animBg="1"/>
      <p:bldP spid="139" grpId="1" animBg="1"/>
      <p:bldP spid="139" grpId="2" animBg="1"/>
      <p:bldP spid="140" grpId="0" animBg="1"/>
      <p:bldP spid="140" grpId="1" animBg="1"/>
      <p:bldP spid="141" grpId="0" animBg="1"/>
      <p:bldP spid="141" grpId="1" animBg="1"/>
      <p:bldP spid="142" grpId="0" animBg="1"/>
      <p:bldP spid="142" grpId="1" animBg="1"/>
      <p:bldP spid="143" grpId="0" animBg="1"/>
      <p:bldP spid="143" grpId="1" animBg="1"/>
      <p:bldP spid="144" grpId="0" animBg="1"/>
      <p:bldP spid="145" grpId="0" animBg="1"/>
      <p:bldP spid="145" grpId="1" animBg="1"/>
      <p:bldP spid="146" grpId="0" animBg="1"/>
      <p:bldP spid="146" grpId="1" animBg="1"/>
      <p:bldP spid="98" grpId="0" animBg="1"/>
      <p:bldP spid="111" grpId="0" animBg="1"/>
      <p:bldP spid="124" grpId="0" animBg="1"/>
      <p:bldP spid="125" grpId="0" animBg="1"/>
      <p:bldP spid="164" grpId="0" animBg="1"/>
      <p:bldP spid="164" grpId="1" animBg="1"/>
      <p:bldP spid="164" grpId="2" animBg="1"/>
      <p:bldP spid="164" grpId="3" animBg="1"/>
      <p:bldP spid="164" grpId="4" animBg="1"/>
      <p:bldP spid="171" grpId="0" animBg="1"/>
      <p:bldP spid="171" grpId="1" animBg="1"/>
      <p:bldP spid="171" grpId="2" animBg="1"/>
      <p:bldP spid="173" grpId="0" animBg="1"/>
      <p:bldP spid="173" grpId="1" animBg="1"/>
      <p:bldP spid="173" grpId="2" animBg="1"/>
      <p:bldP spid="173" grpId="3" animBg="1"/>
      <p:bldP spid="173" grpId="4" animBg="1"/>
      <p:bldP spid="174" grpId="0" animBg="1"/>
      <p:bldP spid="174" grpId="1" animBg="1"/>
      <p:bldP spid="174" grpId="2" animBg="1"/>
      <p:bldP spid="174" grpId="3" animBg="1"/>
      <p:bldP spid="175" grpId="0" animBg="1"/>
      <p:bldP spid="175" grpId="1" animBg="1"/>
      <p:bldP spid="175" grpId="2" animBg="1"/>
      <p:bldP spid="120"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C4C1EBAD-99B4-4706-8B9B-A388FD36E136}"/>
              </a:ext>
            </a:extLst>
          </p:cNvPr>
          <p:cNvSpPr/>
          <p:nvPr/>
        </p:nvSpPr>
        <p:spPr bwMode="auto">
          <a:xfrm>
            <a:off x="10260315" y="3545902"/>
            <a:ext cx="627990" cy="2398098"/>
          </a:xfrm>
          <a:prstGeom prst="rect">
            <a:avLst/>
          </a:pr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 name="Group 1">
            <a:extLst>
              <a:ext uri="{FF2B5EF4-FFF2-40B4-BE49-F238E27FC236}">
                <a16:creationId xmlns:a16="http://schemas.microsoft.com/office/drawing/2014/main" id="{6850986F-25EF-462E-AFE9-B47AC9F7A7CB}"/>
              </a:ext>
            </a:extLst>
          </p:cNvPr>
          <p:cNvGrpSpPr/>
          <p:nvPr/>
        </p:nvGrpSpPr>
        <p:grpSpPr>
          <a:xfrm>
            <a:off x="3768656" y="2736507"/>
            <a:ext cx="4654688" cy="3207835"/>
            <a:chOff x="3768656" y="2736507"/>
            <a:chExt cx="4654688" cy="3207835"/>
          </a:xfrm>
        </p:grpSpPr>
        <p:sp>
          <p:nvSpPr>
            <p:cNvPr id="54" name="Rectangle 53">
              <a:extLst>
                <a:ext uri="{FF2B5EF4-FFF2-40B4-BE49-F238E27FC236}">
                  <a16:creationId xmlns:a16="http://schemas.microsoft.com/office/drawing/2014/main" id="{2F280D36-48C5-447B-B202-4C95CFA079B5}"/>
                </a:ext>
              </a:extLst>
            </p:cNvPr>
            <p:cNvSpPr/>
            <p:nvPr/>
          </p:nvSpPr>
          <p:spPr bwMode="auto">
            <a:xfrm>
              <a:off x="7638318" y="5435770"/>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8">
              <a:extLst>
                <a:ext uri="{FF2B5EF4-FFF2-40B4-BE49-F238E27FC236}">
                  <a16:creationId xmlns:a16="http://schemas.microsoft.com/office/drawing/2014/main" id="{911B5D77-C0C2-4145-BD1A-23C098262C5A}"/>
                </a:ext>
              </a:extLst>
            </p:cNvPr>
            <p:cNvSpPr/>
            <p:nvPr/>
          </p:nvSpPr>
          <p:spPr bwMode="auto">
            <a:xfrm>
              <a:off x="3768656" y="2736507"/>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 name="Rectangle 23">
              <a:extLst>
                <a:ext uri="{FF2B5EF4-FFF2-40B4-BE49-F238E27FC236}">
                  <a16:creationId xmlns:a16="http://schemas.microsoft.com/office/drawing/2014/main" id="{46F07090-D3E6-4F22-840A-A1A7876F0CB0}"/>
                </a:ext>
              </a:extLst>
            </p:cNvPr>
            <p:cNvSpPr/>
            <p:nvPr/>
          </p:nvSpPr>
          <p:spPr bwMode="auto">
            <a:xfrm>
              <a:off x="3768656" y="3411121"/>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Rectangle 24">
              <a:extLst>
                <a:ext uri="{FF2B5EF4-FFF2-40B4-BE49-F238E27FC236}">
                  <a16:creationId xmlns:a16="http://schemas.microsoft.com/office/drawing/2014/main" id="{151BDBBC-CBDB-454C-86CB-D40DD7A8FCAE}"/>
                </a:ext>
              </a:extLst>
            </p:cNvPr>
            <p:cNvSpPr/>
            <p:nvPr/>
          </p:nvSpPr>
          <p:spPr bwMode="auto">
            <a:xfrm>
              <a:off x="3768656" y="4085734"/>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 name="Rectangle 25">
              <a:extLst>
                <a:ext uri="{FF2B5EF4-FFF2-40B4-BE49-F238E27FC236}">
                  <a16:creationId xmlns:a16="http://schemas.microsoft.com/office/drawing/2014/main" id="{729D55AD-1FD2-44DE-A533-2064B590377F}"/>
                </a:ext>
              </a:extLst>
            </p:cNvPr>
            <p:cNvSpPr/>
            <p:nvPr/>
          </p:nvSpPr>
          <p:spPr bwMode="auto">
            <a:xfrm>
              <a:off x="3768656" y="4761390"/>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 name="Rectangle 26">
              <a:extLst>
                <a:ext uri="{FF2B5EF4-FFF2-40B4-BE49-F238E27FC236}">
                  <a16:creationId xmlns:a16="http://schemas.microsoft.com/office/drawing/2014/main" id="{46646093-E38D-416A-A6FB-7A79E33EF466}"/>
                </a:ext>
              </a:extLst>
            </p:cNvPr>
            <p:cNvSpPr/>
            <p:nvPr/>
          </p:nvSpPr>
          <p:spPr bwMode="auto">
            <a:xfrm>
              <a:off x="3768656" y="5435770"/>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 name="Rectangle 28">
              <a:extLst>
                <a:ext uri="{FF2B5EF4-FFF2-40B4-BE49-F238E27FC236}">
                  <a16:creationId xmlns:a16="http://schemas.microsoft.com/office/drawing/2014/main" id="{2AD37EB6-3E23-4256-AC82-87CD99253BA7}"/>
                </a:ext>
              </a:extLst>
            </p:cNvPr>
            <p:cNvSpPr/>
            <p:nvPr/>
          </p:nvSpPr>
          <p:spPr bwMode="auto">
            <a:xfrm>
              <a:off x="4736071" y="2736507"/>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 name="Rectangle 32">
              <a:extLst>
                <a:ext uri="{FF2B5EF4-FFF2-40B4-BE49-F238E27FC236}">
                  <a16:creationId xmlns:a16="http://schemas.microsoft.com/office/drawing/2014/main" id="{51E1F55E-0711-4784-B8DB-762D99B7512C}"/>
                </a:ext>
              </a:extLst>
            </p:cNvPr>
            <p:cNvSpPr/>
            <p:nvPr/>
          </p:nvSpPr>
          <p:spPr bwMode="auto">
            <a:xfrm>
              <a:off x="4736071" y="3411121"/>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 name="Rectangle 33">
              <a:extLst>
                <a:ext uri="{FF2B5EF4-FFF2-40B4-BE49-F238E27FC236}">
                  <a16:creationId xmlns:a16="http://schemas.microsoft.com/office/drawing/2014/main" id="{216754CB-9E46-4C69-9476-B1D1F92DEC53}"/>
                </a:ext>
              </a:extLst>
            </p:cNvPr>
            <p:cNvSpPr/>
            <p:nvPr/>
          </p:nvSpPr>
          <p:spPr bwMode="auto">
            <a:xfrm>
              <a:off x="4736071" y="4085734"/>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Rectangle 34">
              <a:extLst>
                <a:ext uri="{FF2B5EF4-FFF2-40B4-BE49-F238E27FC236}">
                  <a16:creationId xmlns:a16="http://schemas.microsoft.com/office/drawing/2014/main" id="{83BE506A-5DAA-4185-95F5-34E93169B513}"/>
                </a:ext>
              </a:extLst>
            </p:cNvPr>
            <p:cNvSpPr/>
            <p:nvPr/>
          </p:nvSpPr>
          <p:spPr bwMode="auto">
            <a:xfrm>
              <a:off x="4736071" y="4761390"/>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 name="Rectangle 35">
              <a:extLst>
                <a:ext uri="{FF2B5EF4-FFF2-40B4-BE49-F238E27FC236}">
                  <a16:creationId xmlns:a16="http://schemas.microsoft.com/office/drawing/2014/main" id="{FB0E5C7B-D9FC-46F4-9BC4-F675B3D147F1}"/>
                </a:ext>
              </a:extLst>
            </p:cNvPr>
            <p:cNvSpPr/>
            <p:nvPr/>
          </p:nvSpPr>
          <p:spPr bwMode="auto">
            <a:xfrm>
              <a:off x="4736071" y="5435770"/>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 name="Rectangle 37">
              <a:extLst>
                <a:ext uri="{FF2B5EF4-FFF2-40B4-BE49-F238E27FC236}">
                  <a16:creationId xmlns:a16="http://schemas.microsoft.com/office/drawing/2014/main" id="{122F9112-C498-41E6-B942-83CE8CDB695B}"/>
                </a:ext>
              </a:extLst>
            </p:cNvPr>
            <p:cNvSpPr/>
            <p:nvPr/>
          </p:nvSpPr>
          <p:spPr bwMode="auto">
            <a:xfrm>
              <a:off x="5703486" y="2736507"/>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 name="Rectangle 38">
              <a:extLst>
                <a:ext uri="{FF2B5EF4-FFF2-40B4-BE49-F238E27FC236}">
                  <a16:creationId xmlns:a16="http://schemas.microsoft.com/office/drawing/2014/main" id="{9284BF3E-7D38-4F0E-8CE7-187DB72A64A6}"/>
                </a:ext>
              </a:extLst>
            </p:cNvPr>
            <p:cNvSpPr/>
            <p:nvPr/>
          </p:nvSpPr>
          <p:spPr bwMode="auto">
            <a:xfrm>
              <a:off x="5703486" y="3411121"/>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 name="Rectangle 39">
              <a:extLst>
                <a:ext uri="{FF2B5EF4-FFF2-40B4-BE49-F238E27FC236}">
                  <a16:creationId xmlns:a16="http://schemas.microsoft.com/office/drawing/2014/main" id="{33CA47B7-CC0F-4BC6-B542-2B5E008C7CDD}"/>
                </a:ext>
              </a:extLst>
            </p:cNvPr>
            <p:cNvSpPr/>
            <p:nvPr/>
          </p:nvSpPr>
          <p:spPr bwMode="auto">
            <a:xfrm>
              <a:off x="5703486" y="4085734"/>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 name="Rectangle 40">
              <a:extLst>
                <a:ext uri="{FF2B5EF4-FFF2-40B4-BE49-F238E27FC236}">
                  <a16:creationId xmlns:a16="http://schemas.microsoft.com/office/drawing/2014/main" id="{9D39ECB3-6E34-4CC1-BA3B-3381CCD0D7B2}"/>
                </a:ext>
              </a:extLst>
            </p:cNvPr>
            <p:cNvSpPr/>
            <p:nvPr/>
          </p:nvSpPr>
          <p:spPr bwMode="auto">
            <a:xfrm>
              <a:off x="5703486" y="4761390"/>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Rectangle 41">
              <a:extLst>
                <a:ext uri="{FF2B5EF4-FFF2-40B4-BE49-F238E27FC236}">
                  <a16:creationId xmlns:a16="http://schemas.microsoft.com/office/drawing/2014/main" id="{577A7A81-C685-4E8A-ACC7-BB0CCB1B8BC8}"/>
                </a:ext>
              </a:extLst>
            </p:cNvPr>
            <p:cNvSpPr/>
            <p:nvPr/>
          </p:nvSpPr>
          <p:spPr bwMode="auto">
            <a:xfrm>
              <a:off x="5703486" y="5435770"/>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Rectangle 43">
              <a:extLst>
                <a:ext uri="{FF2B5EF4-FFF2-40B4-BE49-F238E27FC236}">
                  <a16:creationId xmlns:a16="http://schemas.microsoft.com/office/drawing/2014/main" id="{85AB8895-B7EE-4D06-85DD-C090D731E57B}"/>
                </a:ext>
              </a:extLst>
            </p:cNvPr>
            <p:cNvSpPr/>
            <p:nvPr/>
          </p:nvSpPr>
          <p:spPr bwMode="auto">
            <a:xfrm>
              <a:off x="6670901" y="2736507"/>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Rectangle 44">
              <a:extLst>
                <a:ext uri="{FF2B5EF4-FFF2-40B4-BE49-F238E27FC236}">
                  <a16:creationId xmlns:a16="http://schemas.microsoft.com/office/drawing/2014/main" id="{F8C7BCEA-2BBE-4C8C-AB56-2ED6CAE5D49D}"/>
                </a:ext>
              </a:extLst>
            </p:cNvPr>
            <p:cNvSpPr/>
            <p:nvPr/>
          </p:nvSpPr>
          <p:spPr bwMode="auto">
            <a:xfrm>
              <a:off x="6670901" y="3411121"/>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 name="Rectangle 45">
              <a:extLst>
                <a:ext uri="{FF2B5EF4-FFF2-40B4-BE49-F238E27FC236}">
                  <a16:creationId xmlns:a16="http://schemas.microsoft.com/office/drawing/2014/main" id="{3F7D14D3-6831-4949-9821-E1AECEEFC079}"/>
                </a:ext>
              </a:extLst>
            </p:cNvPr>
            <p:cNvSpPr/>
            <p:nvPr/>
          </p:nvSpPr>
          <p:spPr bwMode="auto">
            <a:xfrm>
              <a:off x="6670901" y="4085734"/>
              <a:ext cx="785026" cy="508572"/>
            </a:xfrm>
            <a:prstGeom prst="rect">
              <a:avLst/>
            </a:prstGeom>
            <a:solidFill>
              <a:schemeClr val="bg2"/>
            </a:solid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 name="Rectangle 46">
              <a:extLst>
                <a:ext uri="{FF2B5EF4-FFF2-40B4-BE49-F238E27FC236}">
                  <a16:creationId xmlns:a16="http://schemas.microsoft.com/office/drawing/2014/main" id="{652576AB-3056-454D-9838-42C062584668}"/>
                </a:ext>
              </a:extLst>
            </p:cNvPr>
            <p:cNvSpPr/>
            <p:nvPr/>
          </p:nvSpPr>
          <p:spPr bwMode="auto">
            <a:xfrm>
              <a:off x="6670901" y="4761390"/>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8" name="Rectangle 47">
              <a:extLst>
                <a:ext uri="{FF2B5EF4-FFF2-40B4-BE49-F238E27FC236}">
                  <a16:creationId xmlns:a16="http://schemas.microsoft.com/office/drawing/2014/main" id="{AFD01C8B-464C-45EE-88E6-3BE6CDBFE865}"/>
                </a:ext>
              </a:extLst>
            </p:cNvPr>
            <p:cNvSpPr/>
            <p:nvPr/>
          </p:nvSpPr>
          <p:spPr bwMode="auto">
            <a:xfrm>
              <a:off x="6670901" y="5435770"/>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Rectangle 49">
              <a:extLst>
                <a:ext uri="{FF2B5EF4-FFF2-40B4-BE49-F238E27FC236}">
                  <a16:creationId xmlns:a16="http://schemas.microsoft.com/office/drawing/2014/main" id="{A04224F8-EF3B-4190-9FA6-1AD26DC0CB6C}"/>
                </a:ext>
              </a:extLst>
            </p:cNvPr>
            <p:cNvSpPr/>
            <p:nvPr/>
          </p:nvSpPr>
          <p:spPr bwMode="auto">
            <a:xfrm>
              <a:off x="7638318" y="2736507"/>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 name="Rectangle 50">
              <a:extLst>
                <a:ext uri="{FF2B5EF4-FFF2-40B4-BE49-F238E27FC236}">
                  <a16:creationId xmlns:a16="http://schemas.microsoft.com/office/drawing/2014/main" id="{69DD1ED9-5170-4CD2-A03F-FFE54E0B6EB4}"/>
                </a:ext>
              </a:extLst>
            </p:cNvPr>
            <p:cNvSpPr/>
            <p:nvPr/>
          </p:nvSpPr>
          <p:spPr bwMode="auto">
            <a:xfrm>
              <a:off x="7638318" y="3411121"/>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 name="Rectangle 51">
              <a:extLst>
                <a:ext uri="{FF2B5EF4-FFF2-40B4-BE49-F238E27FC236}">
                  <a16:creationId xmlns:a16="http://schemas.microsoft.com/office/drawing/2014/main" id="{958144E3-5EE1-4ACA-857B-25FAB64D3CE8}"/>
                </a:ext>
              </a:extLst>
            </p:cNvPr>
            <p:cNvSpPr/>
            <p:nvPr/>
          </p:nvSpPr>
          <p:spPr bwMode="auto">
            <a:xfrm>
              <a:off x="7638318" y="4085734"/>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3" name="Rectangle 52">
              <a:extLst>
                <a:ext uri="{FF2B5EF4-FFF2-40B4-BE49-F238E27FC236}">
                  <a16:creationId xmlns:a16="http://schemas.microsoft.com/office/drawing/2014/main" id="{68435E11-A669-4147-9B5B-702060863759}"/>
                </a:ext>
              </a:extLst>
            </p:cNvPr>
            <p:cNvSpPr/>
            <p:nvPr/>
          </p:nvSpPr>
          <p:spPr bwMode="auto">
            <a:xfrm>
              <a:off x="7638318" y="4761390"/>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92" name="Rectangle 91">
            <a:extLst>
              <a:ext uri="{FF2B5EF4-FFF2-40B4-BE49-F238E27FC236}">
                <a16:creationId xmlns:a16="http://schemas.microsoft.com/office/drawing/2014/main" id="{76F03795-B707-4403-8A51-C424E70CB4DB}"/>
              </a:ext>
            </a:extLst>
          </p:cNvPr>
          <p:cNvSpPr/>
          <p:nvPr/>
        </p:nvSpPr>
        <p:spPr bwMode="auto">
          <a:xfrm>
            <a:off x="7638318" y="5435770"/>
            <a:ext cx="785026" cy="508572"/>
          </a:xfrm>
          <a:prstGeom prst="rect">
            <a:avLst/>
          </a:prstGeom>
          <a:solidFill>
            <a:srgbClr val="B8D0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6" name="Rectangle 205">
            <a:extLst>
              <a:ext uri="{FF2B5EF4-FFF2-40B4-BE49-F238E27FC236}">
                <a16:creationId xmlns:a16="http://schemas.microsoft.com/office/drawing/2014/main" id="{8D4B9434-C667-4D5C-9D51-409FE8A78B2D}"/>
              </a:ext>
            </a:extLst>
          </p:cNvPr>
          <p:cNvSpPr/>
          <p:nvPr/>
        </p:nvSpPr>
        <p:spPr bwMode="auto">
          <a:xfrm>
            <a:off x="3768656" y="5435770"/>
            <a:ext cx="785026" cy="508572"/>
          </a:xfrm>
          <a:prstGeom prst="rect">
            <a:avLst/>
          </a:prstGeom>
          <a:solidFill>
            <a:srgbClr val="B8D0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7" name="Rectangle 206">
            <a:extLst>
              <a:ext uri="{FF2B5EF4-FFF2-40B4-BE49-F238E27FC236}">
                <a16:creationId xmlns:a16="http://schemas.microsoft.com/office/drawing/2014/main" id="{87158868-88E1-4F87-9176-674B6F20E510}"/>
              </a:ext>
            </a:extLst>
          </p:cNvPr>
          <p:cNvSpPr/>
          <p:nvPr/>
        </p:nvSpPr>
        <p:spPr bwMode="auto">
          <a:xfrm>
            <a:off x="4736071" y="2736507"/>
            <a:ext cx="785026" cy="508572"/>
          </a:xfrm>
          <a:prstGeom prst="rect">
            <a:avLst/>
          </a:prstGeom>
          <a:solidFill>
            <a:srgbClr val="B8D0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8" name="Rectangle 207">
            <a:extLst>
              <a:ext uri="{FF2B5EF4-FFF2-40B4-BE49-F238E27FC236}">
                <a16:creationId xmlns:a16="http://schemas.microsoft.com/office/drawing/2014/main" id="{E7D7F2FF-0BE7-4CDA-B98A-490AD764A8AB}"/>
              </a:ext>
            </a:extLst>
          </p:cNvPr>
          <p:cNvSpPr/>
          <p:nvPr/>
        </p:nvSpPr>
        <p:spPr bwMode="auto">
          <a:xfrm>
            <a:off x="4736071" y="4761390"/>
            <a:ext cx="785026" cy="508572"/>
          </a:xfrm>
          <a:prstGeom prst="rect">
            <a:avLst/>
          </a:prstGeom>
          <a:solidFill>
            <a:srgbClr val="B8D0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9" name="Rectangle 208">
            <a:extLst>
              <a:ext uri="{FF2B5EF4-FFF2-40B4-BE49-F238E27FC236}">
                <a16:creationId xmlns:a16="http://schemas.microsoft.com/office/drawing/2014/main" id="{A01BB4A5-07ED-4097-8C35-52BD90A6CE81}"/>
              </a:ext>
            </a:extLst>
          </p:cNvPr>
          <p:cNvSpPr/>
          <p:nvPr/>
        </p:nvSpPr>
        <p:spPr bwMode="auto">
          <a:xfrm>
            <a:off x="6670901" y="4085734"/>
            <a:ext cx="785026" cy="508572"/>
          </a:xfrm>
          <a:prstGeom prst="rect">
            <a:avLst/>
          </a:prstGeom>
          <a:solidFill>
            <a:srgbClr val="B8D0E2"/>
          </a:solid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0" name="Rectangle 209">
            <a:extLst>
              <a:ext uri="{FF2B5EF4-FFF2-40B4-BE49-F238E27FC236}">
                <a16:creationId xmlns:a16="http://schemas.microsoft.com/office/drawing/2014/main" id="{170AB3A0-9CA8-4E81-B798-5DA14A42FEDC}"/>
              </a:ext>
            </a:extLst>
          </p:cNvPr>
          <p:cNvSpPr/>
          <p:nvPr/>
        </p:nvSpPr>
        <p:spPr bwMode="auto">
          <a:xfrm>
            <a:off x="7638318" y="3411121"/>
            <a:ext cx="785026" cy="508572"/>
          </a:xfrm>
          <a:prstGeom prst="rect">
            <a:avLst/>
          </a:prstGeom>
          <a:solidFill>
            <a:srgbClr val="B8D0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7" name="Rectangle 146">
            <a:extLst>
              <a:ext uri="{FF2B5EF4-FFF2-40B4-BE49-F238E27FC236}">
                <a16:creationId xmlns:a16="http://schemas.microsoft.com/office/drawing/2014/main" id="{8802926F-928E-4C99-BCA6-C50A340B4827}"/>
              </a:ext>
            </a:extLst>
          </p:cNvPr>
          <p:cNvSpPr/>
          <p:nvPr/>
        </p:nvSpPr>
        <p:spPr>
          <a:xfrm>
            <a:off x="826327" y="3495309"/>
            <a:ext cx="1595630"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t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a:ea typeface="+mn-ea"/>
                <a:cs typeface="+mn-cs"/>
              </a:rPr>
              <a:t>Enter data</a:t>
            </a:r>
          </a:p>
        </p:txBody>
      </p:sp>
      <p:sp>
        <p:nvSpPr>
          <p:cNvPr id="148" name="Rectangle 147">
            <a:extLst>
              <a:ext uri="{FF2B5EF4-FFF2-40B4-BE49-F238E27FC236}">
                <a16:creationId xmlns:a16="http://schemas.microsoft.com/office/drawing/2014/main" id="{C8B504DD-81B2-4C36-98A7-1A6BE77AB9CC}"/>
              </a:ext>
            </a:extLst>
          </p:cNvPr>
          <p:cNvSpPr/>
          <p:nvPr/>
        </p:nvSpPr>
        <p:spPr>
          <a:xfrm>
            <a:off x="818596" y="4504823"/>
            <a:ext cx="1611092"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tIns="4572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a:ea typeface="+mn-ea"/>
                <a:cs typeface="+mn-cs"/>
              </a:rPr>
              <a:t>Define goals</a:t>
            </a:r>
          </a:p>
        </p:txBody>
      </p:sp>
      <p:sp>
        <p:nvSpPr>
          <p:cNvPr id="149" name="Rectangle 148">
            <a:extLst>
              <a:ext uri="{FF2B5EF4-FFF2-40B4-BE49-F238E27FC236}">
                <a16:creationId xmlns:a16="http://schemas.microsoft.com/office/drawing/2014/main" id="{C858710D-2E37-4079-A01B-AC799219DA2A}"/>
              </a:ext>
            </a:extLst>
          </p:cNvPr>
          <p:cNvSpPr/>
          <p:nvPr/>
        </p:nvSpPr>
        <p:spPr>
          <a:xfrm>
            <a:off x="818596" y="5514337"/>
            <a:ext cx="1611092"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tIns="4572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a:ea typeface="+mn-ea"/>
                <a:cs typeface="+mn-cs"/>
              </a:rPr>
              <a:t>Apply constraints</a:t>
            </a:r>
          </a:p>
        </p:txBody>
      </p:sp>
      <p:sp>
        <p:nvSpPr>
          <p:cNvPr id="18" name="Rectangle 17">
            <a:extLst>
              <a:ext uri="{FF2B5EF4-FFF2-40B4-BE49-F238E27FC236}">
                <a16:creationId xmlns:a16="http://schemas.microsoft.com/office/drawing/2014/main" id="{E3CB927C-248B-41A1-AFD0-3C4D3735AD94}"/>
              </a:ext>
            </a:extLst>
          </p:cNvPr>
          <p:cNvSpPr/>
          <p:nvPr/>
        </p:nvSpPr>
        <p:spPr bwMode="auto">
          <a:xfrm>
            <a:off x="9425284" y="1931874"/>
            <a:ext cx="2298048" cy="400110"/>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78D4"/>
                </a:solidFill>
                <a:effectLst/>
                <a:uLnTx/>
                <a:uFillTx/>
                <a:latin typeface="Segoe UI Semibold"/>
                <a:ea typeface="+mn-ea"/>
                <a:cs typeface="+mn-cs"/>
              </a:rPr>
              <a:t>Output</a:t>
            </a:r>
          </a:p>
        </p:txBody>
      </p:sp>
      <p:sp>
        <p:nvSpPr>
          <p:cNvPr id="64" name="Title 2"/>
          <p:cNvSpPr>
            <a:spLocks noGrp="1"/>
          </p:cNvSpPr>
          <p:nvPr>
            <p:ph type="title"/>
          </p:nvPr>
        </p:nvSpPr>
        <p:spPr>
          <a:xfrm>
            <a:off x="487219" y="244142"/>
            <a:ext cx="11476219" cy="1107996"/>
          </a:xfrm>
        </p:spPr>
        <p:txBody>
          <a:bodyPr>
            <a:noAutofit/>
          </a:bodyPr>
          <a:lstStyle/>
          <a:p>
            <a:r>
              <a:rPr lang="en-US">
                <a:latin typeface="Segoe UI Light" panose="020B0502040204020203" pitchFamily="34" charset="0"/>
                <a:cs typeface="Segoe UI Light" panose="020B0502040204020203" pitchFamily="34" charset="0"/>
              </a:rPr>
              <a:t>Automated ML Accelerates Model Development </a:t>
            </a:r>
            <a:endParaRPr lang="en-US" spc="0">
              <a:ln>
                <a:noFill/>
              </a:ln>
              <a:solidFill>
                <a:srgbClr val="0078D4"/>
              </a:solidFill>
              <a:latin typeface="Segoe UI Light" panose="020B0502040204020203" pitchFamily="34" charset="0"/>
              <a:cs typeface="Segoe UI Light" panose="020B0502040204020203" pitchFamily="34" charset="0"/>
            </a:endParaRPr>
          </a:p>
        </p:txBody>
      </p:sp>
      <p:sp>
        <p:nvSpPr>
          <p:cNvPr id="150" name="Rectangle 149">
            <a:extLst>
              <a:ext uri="{FF2B5EF4-FFF2-40B4-BE49-F238E27FC236}">
                <a16:creationId xmlns:a16="http://schemas.microsoft.com/office/drawing/2014/main" id="{59D6A392-230C-4B26-9F20-B4A0E248B97E}"/>
              </a:ext>
            </a:extLst>
          </p:cNvPr>
          <p:cNvSpPr/>
          <p:nvPr/>
        </p:nvSpPr>
        <p:spPr>
          <a:xfrm>
            <a:off x="471715" y="1935726"/>
            <a:ext cx="2298048" cy="4001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78D4"/>
                </a:solidFill>
                <a:effectLst/>
                <a:uLnTx/>
                <a:uFillTx/>
                <a:latin typeface="Segoe UI Semibold"/>
                <a:ea typeface="+mn-ea"/>
                <a:cs typeface="+mn-cs"/>
              </a:rPr>
              <a:t>Input</a:t>
            </a:r>
          </a:p>
        </p:txBody>
      </p:sp>
      <p:sp>
        <p:nvSpPr>
          <p:cNvPr id="32" name="Isosceles Triangle 31">
            <a:extLst>
              <a:ext uri="{FF2B5EF4-FFF2-40B4-BE49-F238E27FC236}">
                <a16:creationId xmlns:a16="http://schemas.microsoft.com/office/drawing/2014/main" id="{A8E8B731-2F28-4A34-834B-B2F0FBC2414D}"/>
              </a:ext>
            </a:extLst>
          </p:cNvPr>
          <p:cNvSpPr/>
          <p:nvPr/>
        </p:nvSpPr>
        <p:spPr>
          <a:xfrm rot="5400000">
            <a:off x="2130978" y="4293013"/>
            <a:ext cx="2099978" cy="318091"/>
          </a:xfrm>
          <a:custGeom>
            <a:avLst/>
            <a:gdLst>
              <a:gd name="connsiteX0" fmla="*/ 0 w 3934939"/>
              <a:gd name="connsiteY0" fmla="*/ 384890 h 384890"/>
              <a:gd name="connsiteX1" fmla="*/ 1967470 w 3934939"/>
              <a:gd name="connsiteY1" fmla="*/ 0 h 384890"/>
              <a:gd name="connsiteX2" fmla="*/ 3934939 w 3934939"/>
              <a:gd name="connsiteY2" fmla="*/ 384890 h 384890"/>
              <a:gd name="connsiteX3" fmla="*/ 0 w 3934939"/>
              <a:gd name="connsiteY3" fmla="*/ 384890 h 384890"/>
              <a:gd name="connsiteX0" fmla="*/ 0 w 3934939"/>
              <a:gd name="connsiteY0" fmla="*/ 384890 h 469590"/>
              <a:gd name="connsiteX1" fmla="*/ 1967470 w 3934939"/>
              <a:gd name="connsiteY1" fmla="*/ 0 h 469590"/>
              <a:gd name="connsiteX2" fmla="*/ 3934939 w 3934939"/>
              <a:gd name="connsiteY2" fmla="*/ 384890 h 469590"/>
              <a:gd name="connsiteX3" fmla="*/ 2070893 w 3934939"/>
              <a:gd name="connsiteY3" fmla="*/ 469590 h 469590"/>
              <a:gd name="connsiteX4" fmla="*/ 0 w 3934939"/>
              <a:gd name="connsiteY4" fmla="*/ 384890 h 469590"/>
              <a:gd name="connsiteX0" fmla="*/ 2070893 w 3934939"/>
              <a:gd name="connsiteY0" fmla="*/ 469590 h 561030"/>
              <a:gd name="connsiteX1" fmla="*/ 0 w 3934939"/>
              <a:gd name="connsiteY1" fmla="*/ 384890 h 561030"/>
              <a:gd name="connsiteX2" fmla="*/ 1967470 w 3934939"/>
              <a:gd name="connsiteY2" fmla="*/ 0 h 561030"/>
              <a:gd name="connsiteX3" fmla="*/ 3934939 w 3934939"/>
              <a:gd name="connsiteY3" fmla="*/ 384890 h 561030"/>
              <a:gd name="connsiteX4" fmla="*/ 2162333 w 3934939"/>
              <a:gd name="connsiteY4" fmla="*/ 561030 h 561030"/>
              <a:gd name="connsiteX0" fmla="*/ 0 w 3934939"/>
              <a:gd name="connsiteY0" fmla="*/ 384890 h 561030"/>
              <a:gd name="connsiteX1" fmla="*/ 1967470 w 3934939"/>
              <a:gd name="connsiteY1" fmla="*/ 0 h 561030"/>
              <a:gd name="connsiteX2" fmla="*/ 3934939 w 3934939"/>
              <a:gd name="connsiteY2" fmla="*/ 384890 h 561030"/>
              <a:gd name="connsiteX3" fmla="*/ 2162333 w 3934939"/>
              <a:gd name="connsiteY3" fmla="*/ 561030 h 561030"/>
              <a:gd name="connsiteX0" fmla="*/ 0 w 3934939"/>
              <a:gd name="connsiteY0" fmla="*/ 384890 h 384890"/>
              <a:gd name="connsiteX1" fmla="*/ 1967470 w 3934939"/>
              <a:gd name="connsiteY1" fmla="*/ 0 h 384890"/>
              <a:gd name="connsiteX2" fmla="*/ 3934939 w 3934939"/>
              <a:gd name="connsiteY2" fmla="*/ 384890 h 384890"/>
            </a:gdLst>
            <a:ahLst/>
            <a:cxnLst>
              <a:cxn ang="0">
                <a:pos x="connsiteX0" y="connsiteY0"/>
              </a:cxn>
              <a:cxn ang="0">
                <a:pos x="connsiteX1" y="connsiteY1"/>
              </a:cxn>
              <a:cxn ang="0">
                <a:pos x="connsiteX2" y="connsiteY2"/>
              </a:cxn>
            </a:cxnLst>
            <a:rect l="l" t="t" r="r" b="b"/>
            <a:pathLst>
              <a:path w="3934939" h="384890">
                <a:moveTo>
                  <a:pt x="0" y="384890"/>
                </a:moveTo>
                <a:lnTo>
                  <a:pt x="1967470" y="0"/>
                </a:lnTo>
                <a:lnTo>
                  <a:pt x="3934939" y="384890"/>
                </a:lnTo>
              </a:path>
            </a:pathLst>
          </a:cu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71" name="Isosceles Triangle 70">
            <a:extLst>
              <a:ext uri="{FF2B5EF4-FFF2-40B4-BE49-F238E27FC236}">
                <a16:creationId xmlns:a16="http://schemas.microsoft.com/office/drawing/2014/main" id="{974664E9-2BCA-4C60-950C-8E23DBE06A88}"/>
              </a:ext>
            </a:extLst>
          </p:cNvPr>
          <p:cNvSpPr/>
          <p:nvPr/>
        </p:nvSpPr>
        <p:spPr>
          <a:xfrm rot="5400000">
            <a:off x="8145468" y="4331141"/>
            <a:ext cx="2099980" cy="266412"/>
          </a:xfrm>
          <a:custGeom>
            <a:avLst/>
            <a:gdLst>
              <a:gd name="connsiteX0" fmla="*/ 0 w 3934939"/>
              <a:gd name="connsiteY0" fmla="*/ 322358 h 322358"/>
              <a:gd name="connsiteX1" fmla="*/ 1967470 w 3934939"/>
              <a:gd name="connsiteY1" fmla="*/ 0 h 322358"/>
              <a:gd name="connsiteX2" fmla="*/ 3934939 w 3934939"/>
              <a:gd name="connsiteY2" fmla="*/ 322358 h 322358"/>
              <a:gd name="connsiteX3" fmla="*/ 0 w 3934939"/>
              <a:gd name="connsiteY3" fmla="*/ 322358 h 322358"/>
              <a:gd name="connsiteX0" fmla="*/ 0 w 3934939"/>
              <a:gd name="connsiteY0" fmla="*/ 322358 h 631863"/>
              <a:gd name="connsiteX1" fmla="*/ 1967470 w 3934939"/>
              <a:gd name="connsiteY1" fmla="*/ 0 h 631863"/>
              <a:gd name="connsiteX2" fmla="*/ 3934939 w 3934939"/>
              <a:gd name="connsiteY2" fmla="*/ 322358 h 631863"/>
              <a:gd name="connsiteX3" fmla="*/ 2029576 w 3934939"/>
              <a:gd name="connsiteY3" fmla="*/ 631863 h 631863"/>
              <a:gd name="connsiteX4" fmla="*/ 0 w 3934939"/>
              <a:gd name="connsiteY4" fmla="*/ 322358 h 631863"/>
              <a:gd name="connsiteX0" fmla="*/ 2029576 w 3934939"/>
              <a:gd name="connsiteY0" fmla="*/ 631863 h 723303"/>
              <a:gd name="connsiteX1" fmla="*/ 0 w 3934939"/>
              <a:gd name="connsiteY1" fmla="*/ 322358 h 723303"/>
              <a:gd name="connsiteX2" fmla="*/ 1967470 w 3934939"/>
              <a:gd name="connsiteY2" fmla="*/ 0 h 723303"/>
              <a:gd name="connsiteX3" fmla="*/ 3934939 w 3934939"/>
              <a:gd name="connsiteY3" fmla="*/ 322358 h 723303"/>
              <a:gd name="connsiteX4" fmla="*/ 2121016 w 3934939"/>
              <a:gd name="connsiteY4" fmla="*/ 723303 h 723303"/>
              <a:gd name="connsiteX0" fmla="*/ 0 w 3934939"/>
              <a:gd name="connsiteY0" fmla="*/ 322358 h 723303"/>
              <a:gd name="connsiteX1" fmla="*/ 1967470 w 3934939"/>
              <a:gd name="connsiteY1" fmla="*/ 0 h 723303"/>
              <a:gd name="connsiteX2" fmla="*/ 3934939 w 3934939"/>
              <a:gd name="connsiteY2" fmla="*/ 322358 h 723303"/>
              <a:gd name="connsiteX3" fmla="*/ 2121016 w 3934939"/>
              <a:gd name="connsiteY3" fmla="*/ 723303 h 723303"/>
              <a:gd name="connsiteX0" fmla="*/ 0 w 3934939"/>
              <a:gd name="connsiteY0" fmla="*/ 322358 h 322358"/>
              <a:gd name="connsiteX1" fmla="*/ 1967470 w 3934939"/>
              <a:gd name="connsiteY1" fmla="*/ 0 h 322358"/>
              <a:gd name="connsiteX2" fmla="*/ 3934939 w 3934939"/>
              <a:gd name="connsiteY2" fmla="*/ 322358 h 322358"/>
            </a:gdLst>
            <a:ahLst/>
            <a:cxnLst>
              <a:cxn ang="0">
                <a:pos x="connsiteX0" y="connsiteY0"/>
              </a:cxn>
              <a:cxn ang="0">
                <a:pos x="connsiteX1" y="connsiteY1"/>
              </a:cxn>
              <a:cxn ang="0">
                <a:pos x="connsiteX2" y="connsiteY2"/>
              </a:cxn>
            </a:cxnLst>
            <a:rect l="l" t="t" r="r" b="b"/>
            <a:pathLst>
              <a:path w="3934939" h="322358">
                <a:moveTo>
                  <a:pt x="0" y="322358"/>
                </a:moveTo>
                <a:lnTo>
                  <a:pt x="1967470" y="0"/>
                </a:lnTo>
                <a:lnTo>
                  <a:pt x="3934939" y="322358"/>
                </a:lnTo>
              </a:path>
            </a:pathLst>
          </a:cu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 name="Rectangle 2">
            <a:extLst>
              <a:ext uri="{FF2B5EF4-FFF2-40B4-BE49-F238E27FC236}">
                <a16:creationId xmlns:a16="http://schemas.microsoft.com/office/drawing/2014/main" id="{3F453347-C82D-4EA0-B4DF-408A2100FEBE}"/>
              </a:ext>
            </a:extLst>
          </p:cNvPr>
          <p:cNvSpPr/>
          <p:nvPr/>
        </p:nvSpPr>
        <p:spPr>
          <a:xfrm>
            <a:off x="3470969" y="1931874"/>
            <a:ext cx="5250060" cy="400110"/>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78D4"/>
                </a:solidFill>
                <a:effectLst/>
                <a:uLnTx/>
                <a:uFillTx/>
                <a:latin typeface="Segoe UI Semibold"/>
                <a:ea typeface="+mn-ea"/>
                <a:cs typeface="+mn-cs"/>
              </a:rPr>
              <a:t>Intelligently test multiple models in parallel</a:t>
            </a:r>
          </a:p>
        </p:txBody>
      </p:sp>
      <p:sp>
        <p:nvSpPr>
          <p:cNvPr id="56" name="Rectangle 55">
            <a:extLst>
              <a:ext uri="{FF2B5EF4-FFF2-40B4-BE49-F238E27FC236}">
                <a16:creationId xmlns:a16="http://schemas.microsoft.com/office/drawing/2014/main" id="{346B9977-B3BB-4F82-B05A-89F2C5823D34}"/>
              </a:ext>
            </a:extLst>
          </p:cNvPr>
          <p:cNvSpPr/>
          <p:nvPr/>
        </p:nvSpPr>
        <p:spPr bwMode="auto">
          <a:xfrm>
            <a:off x="3768658" y="5437389"/>
            <a:ext cx="785022" cy="505334"/>
          </a:xfrm>
          <a:prstGeom prst="rect">
            <a:avLst/>
          </a:prstGeom>
          <a:solidFill>
            <a:srgbClr val="8ABAD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25%</a:t>
            </a:r>
          </a:p>
        </p:txBody>
      </p:sp>
      <p:sp>
        <p:nvSpPr>
          <p:cNvPr id="57" name="Rectangle 56">
            <a:extLst>
              <a:ext uri="{FF2B5EF4-FFF2-40B4-BE49-F238E27FC236}">
                <a16:creationId xmlns:a16="http://schemas.microsoft.com/office/drawing/2014/main" id="{9521235A-368A-4639-A773-C6E2F81D58B3}"/>
              </a:ext>
            </a:extLst>
          </p:cNvPr>
          <p:cNvSpPr/>
          <p:nvPr/>
        </p:nvSpPr>
        <p:spPr bwMode="auto">
          <a:xfrm>
            <a:off x="4736073" y="2738126"/>
            <a:ext cx="785022" cy="505334"/>
          </a:xfrm>
          <a:prstGeom prst="rect">
            <a:avLst/>
          </a:prstGeom>
          <a:solidFill>
            <a:srgbClr val="8ABAD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25%</a:t>
            </a:r>
          </a:p>
        </p:txBody>
      </p:sp>
      <p:sp>
        <p:nvSpPr>
          <p:cNvPr id="58" name="Rectangle 57">
            <a:extLst>
              <a:ext uri="{FF2B5EF4-FFF2-40B4-BE49-F238E27FC236}">
                <a16:creationId xmlns:a16="http://schemas.microsoft.com/office/drawing/2014/main" id="{675C0FA6-2D64-4834-A491-6EF039ACEEC8}"/>
              </a:ext>
            </a:extLst>
          </p:cNvPr>
          <p:cNvSpPr/>
          <p:nvPr/>
        </p:nvSpPr>
        <p:spPr bwMode="auto">
          <a:xfrm>
            <a:off x="4736073" y="4763009"/>
            <a:ext cx="785022" cy="505334"/>
          </a:xfrm>
          <a:prstGeom prst="rect">
            <a:avLst/>
          </a:prstGeom>
          <a:solidFill>
            <a:srgbClr val="8ABAD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25%</a:t>
            </a:r>
          </a:p>
        </p:txBody>
      </p:sp>
      <p:sp>
        <p:nvSpPr>
          <p:cNvPr id="62" name="Rectangle 61">
            <a:extLst>
              <a:ext uri="{FF2B5EF4-FFF2-40B4-BE49-F238E27FC236}">
                <a16:creationId xmlns:a16="http://schemas.microsoft.com/office/drawing/2014/main" id="{5EF08468-D16A-4ED4-8701-7980A78BDED0}"/>
              </a:ext>
            </a:extLst>
          </p:cNvPr>
          <p:cNvSpPr/>
          <p:nvPr/>
        </p:nvSpPr>
        <p:spPr bwMode="auto">
          <a:xfrm>
            <a:off x="6670903" y="4087353"/>
            <a:ext cx="785022" cy="505334"/>
          </a:xfrm>
          <a:prstGeom prst="rect">
            <a:avLst/>
          </a:prstGeom>
          <a:solidFill>
            <a:srgbClr val="8ABADF"/>
          </a:solid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25%</a:t>
            </a:r>
          </a:p>
        </p:txBody>
      </p:sp>
      <p:sp>
        <p:nvSpPr>
          <p:cNvPr id="63" name="Rectangle 62">
            <a:extLst>
              <a:ext uri="{FF2B5EF4-FFF2-40B4-BE49-F238E27FC236}">
                <a16:creationId xmlns:a16="http://schemas.microsoft.com/office/drawing/2014/main" id="{B432A898-81C5-4603-BFAF-4B2E5F642B1A}"/>
              </a:ext>
            </a:extLst>
          </p:cNvPr>
          <p:cNvSpPr/>
          <p:nvPr/>
        </p:nvSpPr>
        <p:spPr bwMode="auto">
          <a:xfrm>
            <a:off x="7638320" y="3412740"/>
            <a:ext cx="785022" cy="505334"/>
          </a:xfrm>
          <a:prstGeom prst="rect">
            <a:avLst/>
          </a:prstGeom>
          <a:solidFill>
            <a:srgbClr val="8ABAD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25%</a:t>
            </a:r>
          </a:p>
        </p:txBody>
      </p:sp>
      <p:sp>
        <p:nvSpPr>
          <p:cNvPr id="65" name="Rectangle 64">
            <a:extLst>
              <a:ext uri="{FF2B5EF4-FFF2-40B4-BE49-F238E27FC236}">
                <a16:creationId xmlns:a16="http://schemas.microsoft.com/office/drawing/2014/main" id="{59CC870D-04DB-4F1E-9745-CCDD2D891D77}"/>
              </a:ext>
            </a:extLst>
          </p:cNvPr>
          <p:cNvSpPr/>
          <p:nvPr/>
        </p:nvSpPr>
        <p:spPr bwMode="auto">
          <a:xfrm>
            <a:off x="7638318" y="5435770"/>
            <a:ext cx="785022" cy="505334"/>
          </a:xfrm>
          <a:prstGeom prst="rect">
            <a:avLst/>
          </a:prstGeom>
          <a:solidFill>
            <a:srgbClr val="8ABAD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25%</a:t>
            </a:r>
          </a:p>
        </p:txBody>
      </p:sp>
      <p:sp>
        <p:nvSpPr>
          <p:cNvPr id="69" name="Rectangle 68">
            <a:extLst>
              <a:ext uri="{FF2B5EF4-FFF2-40B4-BE49-F238E27FC236}">
                <a16:creationId xmlns:a16="http://schemas.microsoft.com/office/drawing/2014/main" id="{B56BE929-4E78-4328-9FCD-06D03936F734}"/>
              </a:ext>
            </a:extLst>
          </p:cNvPr>
          <p:cNvSpPr/>
          <p:nvPr/>
        </p:nvSpPr>
        <p:spPr bwMode="auto">
          <a:xfrm>
            <a:off x="10258070" y="3419687"/>
            <a:ext cx="632480" cy="2524313"/>
          </a:xfrm>
          <a:prstGeom prst="rect">
            <a:avLst/>
          </a:pr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9" name="Group 20">
            <a:extLst>
              <a:ext uri="{FF2B5EF4-FFF2-40B4-BE49-F238E27FC236}">
                <a16:creationId xmlns:a16="http://schemas.microsoft.com/office/drawing/2014/main" id="{4EB75E30-B3D2-4C3B-A35B-9B27FF1C15BB}"/>
              </a:ext>
            </a:extLst>
          </p:cNvPr>
          <p:cNvGrpSpPr>
            <a:grpSpLocks noChangeAspect="1"/>
          </p:cNvGrpSpPr>
          <p:nvPr/>
        </p:nvGrpSpPr>
        <p:grpSpPr bwMode="auto">
          <a:xfrm>
            <a:off x="1374919" y="3033175"/>
            <a:ext cx="498446" cy="436316"/>
            <a:chOff x="3764" y="3313"/>
            <a:chExt cx="353" cy="309"/>
          </a:xfrm>
          <a:noFill/>
        </p:grpSpPr>
        <p:sp>
          <p:nvSpPr>
            <p:cNvPr id="110" name="Freeform 21">
              <a:extLst>
                <a:ext uri="{FF2B5EF4-FFF2-40B4-BE49-F238E27FC236}">
                  <a16:creationId xmlns:a16="http://schemas.microsoft.com/office/drawing/2014/main" id="{BD1FEC2F-B3EF-4D54-A4F0-54A076AB7B40}"/>
                </a:ext>
              </a:extLst>
            </p:cNvPr>
            <p:cNvSpPr>
              <a:spLocks/>
            </p:cNvSpPr>
            <p:nvPr/>
          </p:nvSpPr>
          <p:spPr bwMode="auto">
            <a:xfrm>
              <a:off x="3764" y="3313"/>
              <a:ext cx="0" cy="71"/>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grp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1" name="Freeform 22">
              <a:extLst>
                <a:ext uri="{FF2B5EF4-FFF2-40B4-BE49-F238E27FC236}">
                  <a16:creationId xmlns:a16="http://schemas.microsoft.com/office/drawing/2014/main" id="{7F63B60E-7DB5-488E-866F-93EFD0A370F2}"/>
                </a:ext>
              </a:extLst>
            </p:cNvPr>
            <p:cNvSpPr>
              <a:spLocks/>
            </p:cNvSpPr>
            <p:nvPr/>
          </p:nvSpPr>
          <p:spPr bwMode="auto">
            <a:xfrm>
              <a:off x="3897" y="3313"/>
              <a:ext cx="0" cy="71"/>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grp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2" name="Freeform 23">
              <a:extLst>
                <a:ext uri="{FF2B5EF4-FFF2-40B4-BE49-F238E27FC236}">
                  <a16:creationId xmlns:a16="http://schemas.microsoft.com/office/drawing/2014/main" id="{57635241-C845-49E4-AB91-802F219852CB}"/>
                </a:ext>
              </a:extLst>
            </p:cNvPr>
            <p:cNvSpPr>
              <a:spLocks/>
            </p:cNvSpPr>
            <p:nvPr/>
          </p:nvSpPr>
          <p:spPr bwMode="auto">
            <a:xfrm>
              <a:off x="4028" y="3313"/>
              <a:ext cx="0" cy="71"/>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grp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3" name="Freeform 24">
              <a:extLst>
                <a:ext uri="{FF2B5EF4-FFF2-40B4-BE49-F238E27FC236}">
                  <a16:creationId xmlns:a16="http://schemas.microsoft.com/office/drawing/2014/main" id="{7AC8221E-05C5-44FD-AE36-2F8BEAD0849B}"/>
                </a:ext>
              </a:extLst>
            </p:cNvPr>
            <p:cNvSpPr>
              <a:spLocks/>
            </p:cNvSpPr>
            <p:nvPr/>
          </p:nvSpPr>
          <p:spPr bwMode="auto">
            <a:xfrm>
              <a:off x="3807" y="3313"/>
              <a:ext cx="47" cy="72"/>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6" y="0"/>
                    <a:pt x="17" y="0"/>
                  </a:cubicBezTo>
                  <a:cubicBezTo>
                    <a:pt x="17" y="0"/>
                    <a:pt x="17" y="0"/>
                    <a:pt x="17" y="0"/>
                  </a:cubicBezTo>
                  <a:cubicBezTo>
                    <a:pt x="7" y="0"/>
                    <a:pt x="0" y="7"/>
                    <a:pt x="0" y="16"/>
                  </a:cubicBezTo>
                  <a:cubicBezTo>
                    <a:pt x="0" y="35"/>
                    <a:pt x="0" y="35"/>
                    <a:pt x="0" y="35"/>
                  </a:cubicBezTo>
                  <a:cubicBezTo>
                    <a:pt x="0" y="43"/>
                    <a:pt x="7" y="52"/>
                    <a:pt x="17" y="52"/>
                  </a:cubicBezTo>
                  <a:cubicBezTo>
                    <a:pt x="17" y="52"/>
                    <a:pt x="17" y="52"/>
                    <a:pt x="17" y="52"/>
                  </a:cubicBezTo>
                  <a:cubicBezTo>
                    <a:pt x="26" y="52"/>
                    <a:pt x="34" y="43"/>
                    <a:pt x="34" y="35"/>
                  </a:cubicBezTo>
                  <a:close/>
                </a:path>
              </a:pathLst>
            </a:custGeom>
            <a:grp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4" name="Freeform 25">
              <a:extLst>
                <a:ext uri="{FF2B5EF4-FFF2-40B4-BE49-F238E27FC236}">
                  <a16:creationId xmlns:a16="http://schemas.microsoft.com/office/drawing/2014/main" id="{9949F84B-2E66-4817-B219-AD61CE8ED48F}"/>
                </a:ext>
              </a:extLst>
            </p:cNvPr>
            <p:cNvSpPr>
              <a:spLocks/>
            </p:cNvSpPr>
            <p:nvPr/>
          </p:nvSpPr>
          <p:spPr bwMode="auto">
            <a:xfrm>
              <a:off x="3940" y="3313"/>
              <a:ext cx="44" cy="72"/>
            </a:xfrm>
            <a:custGeom>
              <a:avLst/>
              <a:gdLst>
                <a:gd name="T0" fmla="*/ 32 w 32"/>
                <a:gd name="T1" fmla="*/ 35 h 52"/>
                <a:gd name="T2" fmla="*/ 32 w 32"/>
                <a:gd name="T3" fmla="*/ 16 h 52"/>
                <a:gd name="T4" fmla="*/ 15 w 32"/>
                <a:gd name="T5" fmla="*/ 0 h 52"/>
                <a:gd name="T6" fmla="*/ 15 w 32"/>
                <a:gd name="T7" fmla="*/ 0 h 52"/>
                <a:gd name="T8" fmla="*/ 0 w 32"/>
                <a:gd name="T9" fmla="*/ 16 h 52"/>
                <a:gd name="T10" fmla="*/ 0 w 32"/>
                <a:gd name="T11" fmla="*/ 35 h 52"/>
                <a:gd name="T12" fmla="*/ 15 w 32"/>
                <a:gd name="T13" fmla="*/ 52 h 52"/>
                <a:gd name="T14" fmla="*/ 15 w 32"/>
                <a:gd name="T15" fmla="*/ 52 h 52"/>
                <a:gd name="T16" fmla="*/ 32 w 32"/>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52">
                  <a:moveTo>
                    <a:pt x="32" y="35"/>
                  </a:moveTo>
                  <a:cubicBezTo>
                    <a:pt x="32" y="16"/>
                    <a:pt x="32" y="16"/>
                    <a:pt x="32" y="16"/>
                  </a:cubicBezTo>
                  <a:cubicBezTo>
                    <a:pt x="32" y="7"/>
                    <a:pt x="25" y="0"/>
                    <a:pt x="15" y="0"/>
                  </a:cubicBezTo>
                  <a:cubicBezTo>
                    <a:pt x="15" y="0"/>
                    <a:pt x="15" y="0"/>
                    <a:pt x="15" y="0"/>
                  </a:cubicBezTo>
                  <a:cubicBezTo>
                    <a:pt x="7" y="0"/>
                    <a:pt x="0" y="7"/>
                    <a:pt x="0" y="16"/>
                  </a:cubicBezTo>
                  <a:cubicBezTo>
                    <a:pt x="0" y="35"/>
                    <a:pt x="0" y="35"/>
                    <a:pt x="0" y="35"/>
                  </a:cubicBezTo>
                  <a:cubicBezTo>
                    <a:pt x="0" y="43"/>
                    <a:pt x="7" y="52"/>
                    <a:pt x="15" y="52"/>
                  </a:cubicBezTo>
                  <a:cubicBezTo>
                    <a:pt x="15" y="52"/>
                    <a:pt x="15" y="52"/>
                    <a:pt x="15" y="52"/>
                  </a:cubicBezTo>
                  <a:cubicBezTo>
                    <a:pt x="25" y="52"/>
                    <a:pt x="32" y="43"/>
                    <a:pt x="32" y="35"/>
                  </a:cubicBezTo>
                  <a:close/>
                </a:path>
              </a:pathLst>
            </a:custGeom>
            <a:grp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5" name="Freeform 26">
              <a:extLst>
                <a:ext uri="{FF2B5EF4-FFF2-40B4-BE49-F238E27FC236}">
                  <a16:creationId xmlns:a16="http://schemas.microsoft.com/office/drawing/2014/main" id="{0742F126-3B94-4368-A3B6-4552957A4C9E}"/>
                </a:ext>
              </a:extLst>
            </p:cNvPr>
            <p:cNvSpPr>
              <a:spLocks/>
            </p:cNvSpPr>
            <p:nvPr/>
          </p:nvSpPr>
          <p:spPr bwMode="auto">
            <a:xfrm>
              <a:off x="4071" y="3313"/>
              <a:ext cx="46" cy="72"/>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5" y="0"/>
                    <a:pt x="17" y="0"/>
                  </a:cubicBezTo>
                  <a:cubicBezTo>
                    <a:pt x="17" y="0"/>
                    <a:pt x="17" y="0"/>
                    <a:pt x="17" y="0"/>
                  </a:cubicBezTo>
                  <a:cubicBezTo>
                    <a:pt x="7" y="0"/>
                    <a:pt x="0" y="7"/>
                    <a:pt x="0" y="16"/>
                  </a:cubicBezTo>
                  <a:cubicBezTo>
                    <a:pt x="0" y="35"/>
                    <a:pt x="0" y="35"/>
                    <a:pt x="0" y="35"/>
                  </a:cubicBezTo>
                  <a:cubicBezTo>
                    <a:pt x="0" y="43"/>
                    <a:pt x="7" y="52"/>
                    <a:pt x="17" y="52"/>
                  </a:cubicBezTo>
                  <a:cubicBezTo>
                    <a:pt x="17" y="52"/>
                    <a:pt x="17" y="52"/>
                    <a:pt x="17" y="52"/>
                  </a:cubicBezTo>
                  <a:cubicBezTo>
                    <a:pt x="25" y="52"/>
                    <a:pt x="34" y="43"/>
                    <a:pt x="34" y="35"/>
                  </a:cubicBezTo>
                  <a:close/>
                </a:path>
              </a:pathLst>
            </a:custGeom>
            <a:grp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6" name="Freeform 27">
              <a:extLst>
                <a:ext uri="{FF2B5EF4-FFF2-40B4-BE49-F238E27FC236}">
                  <a16:creationId xmlns:a16="http://schemas.microsoft.com/office/drawing/2014/main" id="{1BCE99C9-C0BF-4E7C-AC5C-B51B77D3081F}"/>
                </a:ext>
              </a:extLst>
            </p:cNvPr>
            <p:cNvSpPr>
              <a:spLocks/>
            </p:cNvSpPr>
            <p:nvPr/>
          </p:nvSpPr>
          <p:spPr bwMode="auto">
            <a:xfrm>
              <a:off x="3764" y="3550"/>
              <a:ext cx="0" cy="72"/>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grp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7" name="Freeform 28">
              <a:extLst>
                <a:ext uri="{FF2B5EF4-FFF2-40B4-BE49-F238E27FC236}">
                  <a16:creationId xmlns:a16="http://schemas.microsoft.com/office/drawing/2014/main" id="{398C6C3A-DB5A-4EBA-85EC-2D420F4549E2}"/>
                </a:ext>
              </a:extLst>
            </p:cNvPr>
            <p:cNvSpPr>
              <a:spLocks/>
            </p:cNvSpPr>
            <p:nvPr/>
          </p:nvSpPr>
          <p:spPr bwMode="auto">
            <a:xfrm>
              <a:off x="3897" y="3550"/>
              <a:ext cx="0" cy="72"/>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grp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8" name="Freeform 29">
              <a:extLst>
                <a:ext uri="{FF2B5EF4-FFF2-40B4-BE49-F238E27FC236}">
                  <a16:creationId xmlns:a16="http://schemas.microsoft.com/office/drawing/2014/main" id="{B1B01E7D-6DF1-4886-9B59-7BD5243E3D42}"/>
                </a:ext>
              </a:extLst>
            </p:cNvPr>
            <p:cNvSpPr>
              <a:spLocks/>
            </p:cNvSpPr>
            <p:nvPr/>
          </p:nvSpPr>
          <p:spPr bwMode="auto">
            <a:xfrm>
              <a:off x="4028" y="3550"/>
              <a:ext cx="0" cy="72"/>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grp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9" name="Freeform 30">
              <a:extLst>
                <a:ext uri="{FF2B5EF4-FFF2-40B4-BE49-F238E27FC236}">
                  <a16:creationId xmlns:a16="http://schemas.microsoft.com/office/drawing/2014/main" id="{A56F16CC-423F-4F28-9CC4-6A2300AC7993}"/>
                </a:ext>
              </a:extLst>
            </p:cNvPr>
            <p:cNvSpPr>
              <a:spLocks/>
            </p:cNvSpPr>
            <p:nvPr/>
          </p:nvSpPr>
          <p:spPr bwMode="auto">
            <a:xfrm>
              <a:off x="3807" y="3550"/>
              <a:ext cx="47" cy="72"/>
            </a:xfrm>
            <a:custGeom>
              <a:avLst/>
              <a:gdLst>
                <a:gd name="T0" fmla="*/ 34 w 34"/>
                <a:gd name="T1" fmla="*/ 35 h 52"/>
                <a:gd name="T2" fmla="*/ 34 w 34"/>
                <a:gd name="T3" fmla="*/ 17 h 52"/>
                <a:gd name="T4" fmla="*/ 17 w 34"/>
                <a:gd name="T5" fmla="*/ 0 h 52"/>
                <a:gd name="T6" fmla="*/ 17 w 34"/>
                <a:gd name="T7" fmla="*/ 0 h 52"/>
                <a:gd name="T8" fmla="*/ 0 w 34"/>
                <a:gd name="T9" fmla="*/ 17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7"/>
                    <a:pt x="34" y="17"/>
                    <a:pt x="34" y="17"/>
                  </a:cubicBezTo>
                  <a:cubicBezTo>
                    <a:pt x="34" y="8"/>
                    <a:pt x="26" y="0"/>
                    <a:pt x="17" y="0"/>
                  </a:cubicBezTo>
                  <a:cubicBezTo>
                    <a:pt x="17" y="0"/>
                    <a:pt x="17" y="0"/>
                    <a:pt x="17" y="0"/>
                  </a:cubicBezTo>
                  <a:cubicBezTo>
                    <a:pt x="7" y="0"/>
                    <a:pt x="0" y="8"/>
                    <a:pt x="0" y="17"/>
                  </a:cubicBezTo>
                  <a:cubicBezTo>
                    <a:pt x="0" y="35"/>
                    <a:pt x="0" y="35"/>
                    <a:pt x="0" y="35"/>
                  </a:cubicBezTo>
                  <a:cubicBezTo>
                    <a:pt x="0" y="45"/>
                    <a:pt x="7" y="52"/>
                    <a:pt x="17" y="52"/>
                  </a:cubicBezTo>
                  <a:cubicBezTo>
                    <a:pt x="17" y="52"/>
                    <a:pt x="17" y="52"/>
                    <a:pt x="17" y="52"/>
                  </a:cubicBezTo>
                  <a:cubicBezTo>
                    <a:pt x="26" y="52"/>
                    <a:pt x="34" y="45"/>
                    <a:pt x="34" y="35"/>
                  </a:cubicBezTo>
                  <a:close/>
                </a:path>
              </a:pathLst>
            </a:custGeom>
            <a:grp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0" name="Freeform 31">
              <a:extLst>
                <a:ext uri="{FF2B5EF4-FFF2-40B4-BE49-F238E27FC236}">
                  <a16:creationId xmlns:a16="http://schemas.microsoft.com/office/drawing/2014/main" id="{BFDE09ED-D17C-4D80-8907-DDC02A4B1980}"/>
                </a:ext>
              </a:extLst>
            </p:cNvPr>
            <p:cNvSpPr>
              <a:spLocks/>
            </p:cNvSpPr>
            <p:nvPr/>
          </p:nvSpPr>
          <p:spPr bwMode="auto">
            <a:xfrm>
              <a:off x="3940" y="3550"/>
              <a:ext cx="44" cy="72"/>
            </a:xfrm>
            <a:custGeom>
              <a:avLst/>
              <a:gdLst>
                <a:gd name="T0" fmla="*/ 32 w 32"/>
                <a:gd name="T1" fmla="*/ 35 h 52"/>
                <a:gd name="T2" fmla="*/ 32 w 32"/>
                <a:gd name="T3" fmla="*/ 17 h 52"/>
                <a:gd name="T4" fmla="*/ 15 w 32"/>
                <a:gd name="T5" fmla="*/ 0 h 52"/>
                <a:gd name="T6" fmla="*/ 15 w 32"/>
                <a:gd name="T7" fmla="*/ 0 h 52"/>
                <a:gd name="T8" fmla="*/ 0 w 32"/>
                <a:gd name="T9" fmla="*/ 17 h 52"/>
                <a:gd name="T10" fmla="*/ 0 w 32"/>
                <a:gd name="T11" fmla="*/ 35 h 52"/>
                <a:gd name="T12" fmla="*/ 15 w 32"/>
                <a:gd name="T13" fmla="*/ 52 h 52"/>
                <a:gd name="T14" fmla="*/ 15 w 32"/>
                <a:gd name="T15" fmla="*/ 52 h 52"/>
                <a:gd name="T16" fmla="*/ 32 w 32"/>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52">
                  <a:moveTo>
                    <a:pt x="32" y="35"/>
                  </a:moveTo>
                  <a:cubicBezTo>
                    <a:pt x="32" y="17"/>
                    <a:pt x="32" y="17"/>
                    <a:pt x="32" y="17"/>
                  </a:cubicBezTo>
                  <a:cubicBezTo>
                    <a:pt x="32" y="8"/>
                    <a:pt x="25" y="0"/>
                    <a:pt x="15" y="0"/>
                  </a:cubicBezTo>
                  <a:cubicBezTo>
                    <a:pt x="15" y="0"/>
                    <a:pt x="15" y="0"/>
                    <a:pt x="15" y="0"/>
                  </a:cubicBezTo>
                  <a:cubicBezTo>
                    <a:pt x="7" y="0"/>
                    <a:pt x="0" y="8"/>
                    <a:pt x="0" y="17"/>
                  </a:cubicBezTo>
                  <a:cubicBezTo>
                    <a:pt x="0" y="35"/>
                    <a:pt x="0" y="35"/>
                    <a:pt x="0" y="35"/>
                  </a:cubicBezTo>
                  <a:cubicBezTo>
                    <a:pt x="0" y="45"/>
                    <a:pt x="7" y="52"/>
                    <a:pt x="15" y="52"/>
                  </a:cubicBezTo>
                  <a:cubicBezTo>
                    <a:pt x="15" y="52"/>
                    <a:pt x="15" y="52"/>
                    <a:pt x="15" y="52"/>
                  </a:cubicBezTo>
                  <a:cubicBezTo>
                    <a:pt x="25" y="52"/>
                    <a:pt x="32" y="45"/>
                    <a:pt x="32" y="35"/>
                  </a:cubicBezTo>
                  <a:close/>
                </a:path>
              </a:pathLst>
            </a:custGeom>
            <a:grp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1" name="Freeform 32">
              <a:extLst>
                <a:ext uri="{FF2B5EF4-FFF2-40B4-BE49-F238E27FC236}">
                  <a16:creationId xmlns:a16="http://schemas.microsoft.com/office/drawing/2014/main" id="{609C7B92-A8DD-4959-8248-CA063018AFC6}"/>
                </a:ext>
              </a:extLst>
            </p:cNvPr>
            <p:cNvSpPr>
              <a:spLocks/>
            </p:cNvSpPr>
            <p:nvPr/>
          </p:nvSpPr>
          <p:spPr bwMode="auto">
            <a:xfrm>
              <a:off x="4071" y="3550"/>
              <a:ext cx="46" cy="72"/>
            </a:xfrm>
            <a:custGeom>
              <a:avLst/>
              <a:gdLst>
                <a:gd name="T0" fmla="*/ 34 w 34"/>
                <a:gd name="T1" fmla="*/ 35 h 52"/>
                <a:gd name="T2" fmla="*/ 34 w 34"/>
                <a:gd name="T3" fmla="*/ 17 h 52"/>
                <a:gd name="T4" fmla="*/ 17 w 34"/>
                <a:gd name="T5" fmla="*/ 0 h 52"/>
                <a:gd name="T6" fmla="*/ 17 w 34"/>
                <a:gd name="T7" fmla="*/ 0 h 52"/>
                <a:gd name="T8" fmla="*/ 0 w 34"/>
                <a:gd name="T9" fmla="*/ 17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7"/>
                    <a:pt x="34" y="17"/>
                    <a:pt x="34" y="17"/>
                  </a:cubicBezTo>
                  <a:cubicBezTo>
                    <a:pt x="34" y="8"/>
                    <a:pt x="25" y="0"/>
                    <a:pt x="17" y="0"/>
                  </a:cubicBezTo>
                  <a:cubicBezTo>
                    <a:pt x="17" y="0"/>
                    <a:pt x="17" y="0"/>
                    <a:pt x="17" y="0"/>
                  </a:cubicBezTo>
                  <a:cubicBezTo>
                    <a:pt x="7" y="0"/>
                    <a:pt x="0" y="8"/>
                    <a:pt x="0" y="17"/>
                  </a:cubicBezTo>
                  <a:cubicBezTo>
                    <a:pt x="0" y="35"/>
                    <a:pt x="0" y="35"/>
                    <a:pt x="0" y="35"/>
                  </a:cubicBezTo>
                  <a:cubicBezTo>
                    <a:pt x="0" y="45"/>
                    <a:pt x="7" y="52"/>
                    <a:pt x="17" y="52"/>
                  </a:cubicBezTo>
                  <a:cubicBezTo>
                    <a:pt x="17" y="52"/>
                    <a:pt x="17" y="52"/>
                    <a:pt x="17" y="52"/>
                  </a:cubicBezTo>
                  <a:cubicBezTo>
                    <a:pt x="25" y="52"/>
                    <a:pt x="34" y="45"/>
                    <a:pt x="34" y="35"/>
                  </a:cubicBezTo>
                  <a:close/>
                </a:path>
              </a:pathLst>
            </a:custGeom>
            <a:grp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2" name="Freeform 33">
              <a:extLst>
                <a:ext uri="{FF2B5EF4-FFF2-40B4-BE49-F238E27FC236}">
                  <a16:creationId xmlns:a16="http://schemas.microsoft.com/office/drawing/2014/main" id="{C9DF86B1-D780-4B1F-B717-254F3C2F0BB5}"/>
                </a:ext>
              </a:extLst>
            </p:cNvPr>
            <p:cNvSpPr>
              <a:spLocks/>
            </p:cNvSpPr>
            <p:nvPr/>
          </p:nvSpPr>
          <p:spPr bwMode="auto">
            <a:xfrm>
              <a:off x="3854" y="3435"/>
              <a:ext cx="0" cy="68"/>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grp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 name="Freeform 34">
              <a:extLst>
                <a:ext uri="{FF2B5EF4-FFF2-40B4-BE49-F238E27FC236}">
                  <a16:creationId xmlns:a16="http://schemas.microsoft.com/office/drawing/2014/main" id="{807DD4F0-A770-4045-927B-A19790AA5830}"/>
                </a:ext>
              </a:extLst>
            </p:cNvPr>
            <p:cNvSpPr>
              <a:spLocks/>
            </p:cNvSpPr>
            <p:nvPr/>
          </p:nvSpPr>
          <p:spPr bwMode="auto">
            <a:xfrm>
              <a:off x="3984" y="3435"/>
              <a:ext cx="0" cy="68"/>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grp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4" name="Freeform 35">
              <a:extLst>
                <a:ext uri="{FF2B5EF4-FFF2-40B4-BE49-F238E27FC236}">
                  <a16:creationId xmlns:a16="http://schemas.microsoft.com/office/drawing/2014/main" id="{F2EB3B8B-3349-4C49-9DA2-BE2CB6CA5FEF}"/>
                </a:ext>
              </a:extLst>
            </p:cNvPr>
            <p:cNvSpPr>
              <a:spLocks/>
            </p:cNvSpPr>
            <p:nvPr/>
          </p:nvSpPr>
          <p:spPr bwMode="auto">
            <a:xfrm>
              <a:off x="3764" y="3435"/>
              <a:ext cx="46" cy="71"/>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grp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5" name="Freeform 36">
              <a:extLst>
                <a:ext uri="{FF2B5EF4-FFF2-40B4-BE49-F238E27FC236}">
                  <a16:creationId xmlns:a16="http://schemas.microsoft.com/office/drawing/2014/main" id="{C3210E19-2877-4D2D-8799-5C996EDB3163}"/>
                </a:ext>
              </a:extLst>
            </p:cNvPr>
            <p:cNvSpPr>
              <a:spLocks/>
            </p:cNvSpPr>
            <p:nvPr/>
          </p:nvSpPr>
          <p:spPr bwMode="auto">
            <a:xfrm>
              <a:off x="3897" y="3435"/>
              <a:ext cx="45" cy="71"/>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grp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6" name="Freeform 37">
              <a:extLst>
                <a:ext uri="{FF2B5EF4-FFF2-40B4-BE49-F238E27FC236}">
                  <a16:creationId xmlns:a16="http://schemas.microsoft.com/office/drawing/2014/main" id="{F44E29D8-3D29-4BAF-8E02-EC2BC5774ED8}"/>
                </a:ext>
              </a:extLst>
            </p:cNvPr>
            <p:cNvSpPr>
              <a:spLocks/>
            </p:cNvSpPr>
            <p:nvPr/>
          </p:nvSpPr>
          <p:spPr bwMode="auto">
            <a:xfrm>
              <a:off x="4028" y="3435"/>
              <a:ext cx="45" cy="71"/>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grp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7" name="Freeform 38">
              <a:extLst>
                <a:ext uri="{FF2B5EF4-FFF2-40B4-BE49-F238E27FC236}">
                  <a16:creationId xmlns:a16="http://schemas.microsoft.com/office/drawing/2014/main" id="{863F6220-B897-446E-91E3-C0B7172FC292}"/>
                </a:ext>
              </a:extLst>
            </p:cNvPr>
            <p:cNvSpPr>
              <a:spLocks/>
            </p:cNvSpPr>
            <p:nvPr/>
          </p:nvSpPr>
          <p:spPr bwMode="auto">
            <a:xfrm>
              <a:off x="4117" y="3435"/>
              <a:ext cx="0" cy="68"/>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grp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154" name="Rectangle 153">
            <a:extLst>
              <a:ext uri="{FF2B5EF4-FFF2-40B4-BE49-F238E27FC236}">
                <a16:creationId xmlns:a16="http://schemas.microsoft.com/office/drawing/2014/main" id="{56F8C412-B3B9-4D8E-96A2-650D8AA38881}"/>
              </a:ext>
            </a:extLst>
          </p:cNvPr>
          <p:cNvSpPr/>
          <p:nvPr/>
        </p:nvSpPr>
        <p:spPr bwMode="auto">
          <a:xfrm>
            <a:off x="3768658" y="5437389"/>
            <a:ext cx="785022" cy="505334"/>
          </a:xfrm>
          <a:prstGeom prst="rect">
            <a:avLst/>
          </a:prstGeom>
          <a:solidFill>
            <a:srgbClr val="5CA4D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40%</a:t>
            </a:r>
          </a:p>
        </p:txBody>
      </p:sp>
      <p:sp>
        <p:nvSpPr>
          <p:cNvPr id="156" name="Rectangle 155">
            <a:extLst>
              <a:ext uri="{FF2B5EF4-FFF2-40B4-BE49-F238E27FC236}">
                <a16:creationId xmlns:a16="http://schemas.microsoft.com/office/drawing/2014/main" id="{B1BD5EB7-7D25-4A2E-9890-4D22892EA68F}"/>
              </a:ext>
            </a:extLst>
          </p:cNvPr>
          <p:cNvSpPr/>
          <p:nvPr/>
        </p:nvSpPr>
        <p:spPr bwMode="auto">
          <a:xfrm>
            <a:off x="4736073" y="4763009"/>
            <a:ext cx="785022" cy="505334"/>
          </a:xfrm>
          <a:prstGeom prst="rect">
            <a:avLst/>
          </a:prstGeom>
          <a:solidFill>
            <a:srgbClr val="5CA4D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40%</a:t>
            </a:r>
          </a:p>
        </p:txBody>
      </p:sp>
      <p:sp>
        <p:nvSpPr>
          <p:cNvPr id="160" name="Rectangle 159">
            <a:extLst>
              <a:ext uri="{FF2B5EF4-FFF2-40B4-BE49-F238E27FC236}">
                <a16:creationId xmlns:a16="http://schemas.microsoft.com/office/drawing/2014/main" id="{52810F27-F6D4-44ED-A959-4307288B0F0F}"/>
              </a:ext>
            </a:extLst>
          </p:cNvPr>
          <p:cNvSpPr/>
          <p:nvPr/>
        </p:nvSpPr>
        <p:spPr bwMode="auto">
          <a:xfrm>
            <a:off x="6670903" y="4087353"/>
            <a:ext cx="785022" cy="505334"/>
          </a:xfrm>
          <a:prstGeom prst="rect">
            <a:avLst/>
          </a:prstGeom>
          <a:solidFill>
            <a:srgbClr val="5CA4DB"/>
          </a:solid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40%</a:t>
            </a:r>
          </a:p>
        </p:txBody>
      </p:sp>
      <p:sp>
        <p:nvSpPr>
          <p:cNvPr id="161" name="Rectangle 160">
            <a:extLst>
              <a:ext uri="{FF2B5EF4-FFF2-40B4-BE49-F238E27FC236}">
                <a16:creationId xmlns:a16="http://schemas.microsoft.com/office/drawing/2014/main" id="{3DFD0CFB-7493-447A-9739-F92717140711}"/>
              </a:ext>
            </a:extLst>
          </p:cNvPr>
          <p:cNvSpPr/>
          <p:nvPr/>
        </p:nvSpPr>
        <p:spPr bwMode="auto">
          <a:xfrm>
            <a:off x="7638320" y="3412740"/>
            <a:ext cx="785022" cy="505334"/>
          </a:xfrm>
          <a:prstGeom prst="rect">
            <a:avLst/>
          </a:prstGeom>
          <a:solidFill>
            <a:srgbClr val="5CA4D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40%</a:t>
            </a:r>
          </a:p>
        </p:txBody>
      </p:sp>
      <p:sp>
        <p:nvSpPr>
          <p:cNvPr id="162" name="Rectangle 161">
            <a:extLst>
              <a:ext uri="{FF2B5EF4-FFF2-40B4-BE49-F238E27FC236}">
                <a16:creationId xmlns:a16="http://schemas.microsoft.com/office/drawing/2014/main" id="{0B7E7B3B-A7D6-4B9E-9B43-CAA1A8D42874}"/>
              </a:ext>
            </a:extLst>
          </p:cNvPr>
          <p:cNvSpPr/>
          <p:nvPr/>
        </p:nvSpPr>
        <p:spPr bwMode="auto">
          <a:xfrm>
            <a:off x="7638318" y="5435770"/>
            <a:ext cx="785022" cy="505334"/>
          </a:xfrm>
          <a:prstGeom prst="rect">
            <a:avLst/>
          </a:prstGeom>
          <a:solidFill>
            <a:srgbClr val="5CA4D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40%</a:t>
            </a:r>
          </a:p>
        </p:txBody>
      </p:sp>
      <p:sp>
        <p:nvSpPr>
          <p:cNvPr id="178" name="Rectangle 177">
            <a:extLst>
              <a:ext uri="{FF2B5EF4-FFF2-40B4-BE49-F238E27FC236}">
                <a16:creationId xmlns:a16="http://schemas.microsoft.com/office/drawing/2014/main" id="{69F286C7-A72E-4B19-BECC-2AD322B91A55}"/>
              </a:ext>
            </a:extLst>
          </p:cNvPr>
          <p:cNvSpPr/>
          <p:nvPr/>
        </p:nvSpPr>
        <p:spPr bwMode="auto">
          <a:xfrm>
            <a:off x="4736073" y="4763009"/>
            <a:ext cx="785022" cy="505334"/>
          </a:xfrm>
          <a:prstGeom prst="rect">
            <a:avLst/>
          </a:prstGeom>
          <a:solidFill>
            <a:srgbClr val="2E8ED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70%</a:t>
            </a:r>
          </a:p>
        </p:txBody>
      </p:sp>
      <p:sp>
        <p:nvSpPr>
          <p:cNvPr id="182" name="Rectangle 181">
            <a:extLst>
              <a:ext uri="{FF2B5EF4-FFF2-40B4-BE49-F238E27FC236}">
                <a16:creationId xmlns:a16="http://schemas.microsoft.com/office/drawing/2014/main" id="{F6960B95-9AED-453D-8147-4BE64D2AA752}"/>
              </a:ext>
            </a:extLst>
          </p:cNvPr>
          <p:cNvSpPr/>
          <p:nvPr/>
        </p:nvSpPr>
        <p:spPr bwMode="auto">
          <a:xfrm>
            <a:off x="6670903" y="4087353"/>
            <a:ext cx="785022" cy="505334"/>
          </a:xfrm>
          <a:prstGeom prst="rect">
            <a:avLst/>
          </a:prstGeom>
          <a:solidFill>
            <a:srgbClr val="2E8ED8"/>
          </a:solid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70%</a:t>
            </a:r>
          </a:p>
        </p:txBody>
      </p:sp>
      <p:sp>
        <p:nvSpPr>
          <p:cNvPr id="183" name="Rectangle 182">
            <a:extLst>
              <a:ext uri="{FF2B5EF4-FFF2-40B4-BE49-F238E27FC236}">
                <a16:creationId xmlns:a16="http://schemas.microsoft.com/office/drawing/2014/main" id="{5E1D3D7E-AE78-461B-8984-8550F13D2CAC}"/>
              </a:ext>
            </a:extLst>
          </p:cNvPr>
          <p:cNvSpPr/>
          <p:nvPr/>
        </p:nvSpPr>
        <p:spPr bwMode="auto">
          <a:xfrm>
            <a:off x="7638320" y="3412740"/>
            <a:ext cx="785022" cy="505334"/>
          </a:xfrm>
          <a:prstGeom prst="rect">
            <a:avLst/>
          </a:prstGeom>
          <a:solidFill>
            <a:srgbClr val="2E8ED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70%</a:t>
            </a:r>
          </a:p>
        </p:txBody>
      </p:sp>
      <p:sp>
        <p:nvSpPr>
          <p:cNvPr id="184" name="Rectangle 183">
            <a:extLst>
              <a:ext uri="{FF2B5EF4-FFF2-40B4-BE49-F238E27FC236}">
                <a16:creationId xmlns:a16="http://schemas.microsoft.com/office/drawing/2014/main" id="{7AB63D05-2235-48E1-AC5A-5332C75C07D7}"/>
              </a:ext>
            </a:extLst>
          </p:cNvPr>
          <p:cNvSpPr/>
          <p:nvPr/>
        </p:nvSpPr>
        <p:spPr bwMode="auto">
          <a:xfrm>
            <a:off x="7638318" y="5435770"/>
            <a:ext cx="785022" cy="505334"/>
          </a:xfrm>
          <a:prstGeom prst="rect">
            <a:avLst/>
          </a:prstGeom>
          <a:solidFill>
            <a:srgbClr val="2E8ED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70%</a:t>
            </a:r>
          </a:p>
        </p:txBody>
      </p:sp>
      <p:sp>
        <p:nvSpPr>
          <p:cNvPr id="195" name="Rectangle 194">
            <a:extLst>
              <a:ext uri="{FF2B5EF4-FFF2-40B4-BE49-F238E27FC236}">
                <a16:creationId xmlns:a16="http://schemas.microsoft.com/office/drawing/2014/main" id="{195437A0-E144-4350-B464-A76A69AAF11F}"/>
              </a:ext>
            </a:extLst>
          </p:cNvPr>
          <p:cNvSpPr/>
          <p:nvPr/>
        </p:nvSpPr>
        <p:spPr bwMode="auto">
          <a:xfrm>
            <a:off x="6670903" y="4087353"/>
            <a:ext cx="785022" cy="505334"/>
          </a:xfrm>
          <a:prstGeom prst="rect">
            <a:avLst/>
          </a:prstGeom>
          <a:solidFill>
            <a:schemeClr val="tx2"/>
          </a:solid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95%</a:t>
            </a:r>
          </a:p>
        </p:txBody>
      </p:sp>
      <p:sp>
        <p:nvSpPr>
          <p:cNvPr id="196" name="Freeform 5">
            <a:extLst>
              <a:ext uri="{FF2B5EF4-FFF2-40B4-BE49-F238E27FC236}">
                <a16:creationId xmlns:a16="http://schemas.microsoft.com/office/drawing/2014/main" id="{DF9FDED0-2500-4374-B5B2-ED86C9D5D9D3}"/>
              </a:ext>
            </a:extLst>
          </p:cNvPr>
          <p:cNvSpPr>
            <a:spLocks noEditPoints="1"/>
          </p:cNvSpPr>
          <p:nvPr/>
        </p:nvSpPr>
        <p:spPr bwMode="auto">
          <a:xfrm>
            <a:off x="10350753" y="2706366"/>
            <a:ext cx="440168" cy="264815"/>
          </a:xfrm>
          <a:custGeom>
            <a:avLst/>
            <a:gdLst>
              <a:gd name="T0" fmla="*/ 27 w 339"/>
              <a:gd name="T1" fmla="*/ 70 h 204"/>
              <a:gd name="T2" fmla="*/ 287 w 339"/>
              <a:gd name="T3" fmla="*/ 70 h 204"/>
              <a:gd name="T4" fmla="*/ 339 w 339"/>
              <a:gd name="T5" fmla="*/ 122 h 204"/>
              <a:gd name="T6" fmla="*/ 339 w 339"/>
              <a:gd name="T7" fmla="*/ 160 h 204"/>
              <a:gd name="T8" fmla="*/ 318 w 339"/>
              <a:gd name="T9" fmla="*/ 182 h 204"/>
              <a:gd name="T10" fmla="*/ 294 w 339"/>
              <a:gd name="T11" fmla="*/ 182 h 204"/>
              <a:gd name="T12" fmla="*/ 297 w 339"/>
              <a:gd name="T13" fmla="*/ 168 h 204"/>
              <a:gd name="T14" fmla="*/ 261 w 339"/>
              <a:gd name="T15" fmla="*/ 131 h 204"/>
              <a:gd name="T16" fmla="*/ 224 w 339"/>
              <a:gd name="T17" fmla="*/ 168 h 204"/>
              <a:gd name="T18" fmla="*/ 261 w 339"/>
              <a:gd name="T19" fmla="*/ 204 h 204"/>
              <a:gd name="T20" fmla="*/ 297 w 339"/>
              <a:gd name="T21" fmla="*/ 168 h 204"/>
              <a:gd name="T22" fmla="*/ 95 w 339"/>
              <a:gd name="T23" fmla="*/ 168 h 204"/>
              <a:gd name="T24" fmla="*/ 59 w 339"/>
              <a:gd name="T25" fmla="*/ 131 h 204"/>
              <a:gd name="T26" fmla="*/ 22 w 339"/>
              <a:gd name="T27" fmla="*/ 168 h 204"/>
              <a:gd name="T28" fmla="*/ 59 w 339"/>
              <a:gd name="T29" fmla="*/ 204 h 204"/>
              <a:gd name="T30" fmla="*/ 95 w 339"/>
              <a:gd name="T31" fmla="*/ 168 h 204"/>
              <a:gd name="T32" fmla="*/ 63 w 339"/>
              <a:gd name="T33" fmla="*/ 0 h 204"/>
              <a:gd name="T34" fmla="*/ 10 w 339"/>
              <a:gd name="T35" fmla="*/ 105 h 204"/>
              <a:gd name="T36" fmla="*/ 0 w 339"/>
              <a:gd name="T37" fmla="*/ 139 h 204"/>
              <a:gd name="T38" fmla="*/ 24 w 339"/>
              <a:gd name="T39" fmla="*/ 178 h 204"/>
              <a:gd name="T40" fmla="*/ 271 w 339"/>
              <a:gd name="T41" fmla="*/ 70 h 204"/>
              <a:gd name="T42" fmla="*/ 222 w 339"/>
              <a:gd name="T43" fmla="*/ 15 h 204"/>
              <a:gd name="T44" fmla="*/ 194 w 339"/>
              <a:gd name="T45" fmla="*/ 0 h 204"/>
              <a:gd name="T46" fmla="*/ 37 w 339"/>
              <a:gd name="T47" fmla="*/ 0 h 204"/>
              <a:gd name="T48" fmla="*/ 227 w 339"/>
              <a:gd name="T49" fmla="*/ 182 h 204"/>
              <a:gd name="T50" fmla="*/ 92 w 339"/>
              <a:gd name="T51" fmla="*/ 182 h 204"/>
              <a:gd name="T52" fmla="*/ 134 w 339"/>
              <a:gd name="T53" fmla="*/ 182 h 204"/>
              <a:gd name="T54" fmla="*/ 134 w 339"/>
              <a:gd name="T55"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9" h="204">
                <a:moveTo>
                  <a:pt x="27" y="70"/>
                </a:moveTo>
                <a:cubicBezTo>
                  <a:pt x="287" y="70"/>
                  <a:pt x="287" y="70"/>
                  <a:pt x="287" y="70"/>
                </a:cubicBezTo>
                <a:cubicBezTo>
                  <a:pt x="316" y="70"/>
                  <a:pt x="339" y="94"/>
                  <a:pt x="339" y="122"/>
                </a:cubicBezTo>
                <a:cubicBezTo>
                  <a:pt x="339" y="160"/>
                  <a:pt x="339" y="160"/>
                  <a:pt x="339" y="160"/>
                </a:cubicBezTo>
                <a:cubicBezTo>
                  <a:pt x="339" y="172"/>
                  <a:pt x="330" y="182"/>
                  <a:pt x="318" y="182"/>
                </a:cubicBezTo>
                <a:cubicBezTo>
                  <a:pt x="294" y="182"/>
                  <a:pt x="294" y="182"/>
                  <a:pt x="294" y="182"/>
                </a:cubicBezTo>
                <a:moveTo>
                  <a:pt x="297" y="168"/>
                </a:moveTo>
                <a:cubicBezTo>
                  <a:pt x="297" y="148"/>
                  <a:pt x="281" y="131"/>
                  <a:pt x="261" y="131"/>
                </a:cubicBezTo>
                <a:cubicBezTo>
                  <a:pt x="241" y="131"/>
                  <a:pt x="224" y="148"/>
                  <a:pt x="224" y="168"/>
                </a:cubicBezTo>
                <a:cubicBezTo>
                  <a:pt x="224" y="188"/>
                  <a:pt x="241" y="204"/>
                  <a:pt x="261" y="204"/>
                </a:cubicBezTo>
                <a:cubicBezTo>
                  <a:pt x="281" y="204"/>
                  <a:pt x="297" y="188"/>
                  <a:pt x="297" y="168"/>
                </a:cubicBezTo>
                <a:close/>
                <a:moveTo>
                  <a:pt x="95" y="168"/>
                </a:moveTo>
                <a:cubicBezTo>
                  <a:pt x="95" y="148"/>
                  <a:pt x="79" y="131"/>
                  <a:pt x="59" y="131"/>
                </a:cubicBezTo>
                <a:cubicBezTo>
                  <a:pt x="39" y="131"/>
                  <a:pt x="22" y="148"/>
                  <a:pt x="22" y="168"/>
                </a:cubicBezTo>
                <a:cubicBezTo>
                  <a:pt x="22" y="188"/>
                  <a:pt x="39" y="204"/>
                  <a:pt x="59" y="204"/>
                </a:cubicBezTo>
                <a:cubicBezTo>
                  <a:pt x="79" y="204"/>
                  <a:pt x="95" y="188"/>
                  <a:pt x="95" y="168"/>
                </a:cubicBezTo>
                <a:close/>
                <a:moveTo>
                  <a:pt x="63" y="0"/>
                </a:moveTo>
                <a:cubicBezTo>
                  <a:pt x="63" y="0"/>
                  <a:pt x="20" y="84"/>
                  <a:pt x="10" y="105"/>
                </a:cubicBezTo>
                <a:cubicBezTo>
                  <a:pt x="0" y="127"/>
                  <a:pt x="0" y="139"/>
                  <a:pt x="0" y="139"/>
                </a:cubicBezTo>
                <a:cubicBezTo>
                  <a:pt x="0" y="154"/>
                  <a:pt x="9" y="173"/>
                  <a:pt x="24" y="178"/>
                </a:cubicBezTo>
                <a:moveTo>
                  <a:pt x="271" y="70"/>
                </a:moveTo>
                <a:cubicBezTo>
                  <a:pt x="222" y="15"/>
                  <a:pt x="222" y="15"/>
                  <a:pt x="222" y="15"/>
                </a:cubicBezTo>
                <a:cubicBezTo>
                  <a:pt x="214" y="5"/>
                  <a:pt x="206" y="0"/>
                  <a:pt x="194" y="0"/>
                </a:cubicBezTo>
                <a:cubicBezTo>
                  <a:pt x="37" y="0"/>
                  <a:pt x="37" y="0"/>
                  <a:pt x="37" y="0"/>
                </a:cubicBezTo>
                <a:moveTo>
                  <a:pt x="227" y="182"/>
                </a:moveTo>
                <a:cubicBezTo>
                  <a:pt x="92" y="182"/>
                  <a:pt x="92" y="182"/>
                  <a:pt x="92" y="182"/>
                </a:cubicBezTo>
                <a:moveTo>
                  <a:pt x="134" y="182"/>
                </a:moveTo>
                <a:cubicBezTo>
                  <a:pt x="134" y="0"/>
                  <a:pt x="134" y="0"/>
                  <a:pt x="134" y="0"/>
                </a:cubicBezTo>
              </a:path>
            </a:pathLst>
          </a:custGeom>
          <a:noFill/>
          <a:ln w="12700">
            <a:solidFill>
              <a:schemeClr val="tx2"/>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99" name="Rectangle 198">
            <a:extLst>
              <a:ext uri="{FF2B5EF4-FFF2-40B4-BE49-F238E27FC236}">
                <a16:creationId xmlns:a16="http://schemas.microsoft.com/office/drawing/2014/main" id="{22602F01-A6AD-4809-AE58-134198AE5A95}"/>
              </a:ext>
            </a:extLst>
          </p:cNvPr>
          <p:cNvSpPr/>
          <p:nvPr/>
        </p:nvSpPr>
        <p:spPr bwMode="auto">
          <a:xfrm>
            <a:off x="10135070" y="5955216"/>
            <a:ext cx="878476" cy="90278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Box 4">
            <a:extLst>
              <a:ext uri="{FF2B5EF4-FFF2-40B4-BE49-F238E27FC236}">
                <a16:creationId xmlns:a16="http://schemas.microsoft.com/office/drawing/2014/main" id="{E9A9F4A2-34D2-4122-B219-A325533A8008}"/>
              </a:ext>
            </a:extLst>
          </p:cNvPr>
          <p:cNvSpPr txBox="1"/>
          <p:nvPr/>
        </p:nvSpPr>
        <p:spPr>
          <a:xfrm>
            <a:off x="9615066" y="3017758"/>
            <a:ext cx="1918484"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defPPr>
              <a:defRPr lang="en-US"/>
            </a:defPPr>
            <a:lvl1pPr algn="ctr">
              <a:defRPr sz="1400">
                <a:solidFill>
                  <a:schemeClr val="accent1"/>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a:ea typeface="+mn-ea"/>
                <a:cs typeface="+mn-cs"/>
              </a:rPr>
              <a:t>Optimized model</a:t>
            </a:r>
          </a:p>
        </p:txBody>
      </p:sp>
      <p:sp>
        <p:nvSpPr>
          <p:cNvPr id="197" name="Rectangle 196">
            <a:extLst>
              <a:ext uri="{FF2B5EF4-FFF2-40B4-BE49-F238E27FC236}">
                <a16:creationId xmlns:a16="http://schemas.microsoft.com/office/drawing/2014/main" id="{A85EB74B-FDD2-45CB-A236-74C66623A549}"/>
              </a:ext>
            </a:extLst>
          </p:cNvPr>
          <p:cNvSpPr/>
          <p:nvPr/>
        </p:nvSpPr>
        <p:spPr bwMode="auto">
          <a:xfrm>
            <a:off x="6814512" y="4188987"/>
            <a:ext cx="497804" cy="302066"/>
          </a:xfrm>
          <a:prstGeom prst="rect">
            <a:avLst/>
          </a:prstGeom>
          <a:no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95%</a:t>
            </a:r>
          </a:p>
        </p:txBody>
      </p:sp>
      <p:grpSp>
        <p:nvGrpSpPr>
          <p:cNvPr id="212" name="Group 211">
            <a:extLst>
              <a:ext uri="{FF2B5EF4-FFF2-40B4-BE49-F238E27FC236}">
                <a16:creationId xmlns:a16="http://schemas.microsoft.com/office/drawing/2014/main" id="{49DE720E-16FD-4BAD-BC4A-AB88F4C6E793}"/>
              </a:ext>
            </a:extLst>
          </p:cNvPr>
          <p:cNvGrpSpPr/>
          <p:nvPr/>
        </p:nvGrpSpPr>
        <p:grpSpPr>
          <a:xfrm>
            <a:off x="1436341" y="4057481"/>
            <a:ext cx="375602" cy="424726"/>
            <a:chOff x="9005455" y="6149108"/>
            <a:chExt cx="1115925" cy="1261885"/>
          </a:xfrm>
          <a:noFill/>
        </p:grpSpPr>
        <p:sp>
          <p:nvSpPr>
            <p:cNvPr id="213" name="Freeform 938">
              <a:extLst>
                <a:ext uri="{FF2B5EF4-FFF2-40B4-BE49-F238E27FC236}">
                  <a16:creationId xmlns:a16="http://schemas.microsoft.com/office/drawing/2014/main" id="{E6153D3D-A39E-4FF3-9DD7-BF527CAF6B4A}"/>
                </a:ext>
              </a:extLst>
            </p:cNvPr>
            <p:cNvSpPr/>
            <p:nvPr/>
          </p:nvSpPr>
          <p:spPr>
            <a:xfrm>
              <a:off x="9005455" y="6282459"/>
              <a:ext cx="555625" cy="1123950"/>
            </a:xfrm>
            <a:custGeom>
              <a:avLst/>
              <a:gdLst>
                <a:gd name="connsiteX0" fmla="*/ 555625 w 555625"/>
                <a:gd name="connsiteY0" fmla="*/ 1123950 h 1123950"/>
                <a:gd name="connsiteX1" fmla="*/ 0 w 555625"/>
                <a:gd name="connsiteY1" fmla="*/ 1123950 h 1123950"/>
                <a:gd name="connsiteX2" fmla="*/ 0 w 555625"/>
                <a:gd name="connsiteY2" fmla="*/ 0 h 1123950"/>
                <a:gd name="connsiteX3" fmla="*/ 219075 w 555625"/>
                <a:gd name="connsiteY3" fmla="*/ 0 h 1123950"/>
              </a:gdLst>
              <a:ahLst/>
              <a:cxnLst>
                <a:cxn ang="0">
                  <a:pos x="connsiteX0" y="connsiteY0"/>
                </a:cxn>
                <a:cxn ang="0">
                  <a:pos x="connsiteX1" y="connsiteY1"/>
                </a:cxn>
                <a:cxn ang="0">
                  <a:pos x="connsiteX2" y="connsiteY2"/>
                </a:cxn>
                <a:cxn ang="0">
                  <a:pos x="connsiteX3" y="connsiteY3"/>
                </a:cxn>
              </a:cxnLst>
              <a:rect l="l" t="t" r="r" b="b"/>
              <a:pathLst>
                <a:path w="555625" h="1123950">
                  <a:moveTo>
                    <a:pt x="555625" y="1123950"/>
                  </a:moveTo>
                  <a:lnTo>
                    <a:pt x="0" y="1123950"/>
                  </a:lnTo>
                  <a:lnTo>
                    <a:pt x="0" y="0"/>
                  </a:lnTo>
                  <a:lnTo>
                    <a:pt x="219075" y="0"/>
                  </a:lnTo>
                </a:path>
              </a:pathLst>
            </a:cu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4" name="Freeform 939">
              <a:extLst>
                <a:ext uri="{FF2B5EF4-FFF2-40B4-BE49-F238E27FC236}">
                  <a16:creationId xmlns:a16="http://schemas.microsoft.com/office/drawing/2014/main" id="{F26CC79B-EF9A-47A6-80E3-4A5AE6DBC57A}"/>
                </a:ext>
              </a:extLst>
            </p:cNvPr>
            <p:cNvSpPr/>
            <p:nvPr/>
          </p:nvSpPr>
          <p:spPr>
            <a:xfrm>
              <a:off x="9707130" y="6282459"/>
              <a:ext cx="215900" cy="485775"/>
            </a:xfrm>
            <a:custGeom>
              <a:avLst/>
              <a:gdLst>
                <a:gd name="connsiteX0" fmla="*/ 0 w 215900"/>
                <a:gd name="connsiteY0" fmla="*/ 0 h 485775"/>
                <a:gd name="connsiteX1" fmla="*/ 215900 w 215900"/>
                <a:gd name="connsiteY1" fmla="*/ 0 h 485775"/>
                <a:gd name="connsiteX2" fmla="*/ 215900 w 215900"/>
                <a:gd name="connsiteY2" fmla="*/ 485775 h 485775"/>
              </a:gdLst>
              <a:ahLst/>
              <a:cxnLst>
                <a:cxn ang="0">
                  <a:pos x="connsiteX0" y="connsiteY0"/>
                </a:cxn>
                <a:cxn ang="0">
                  <a:pos x="connsiteX1" y="connsiteY1"/>
                </a:cxn>
                <a:cxn ang="0">
                  <a:pos x="connsiteX2" y="connsiteY2"/>
                </a:cxn>
              </a:cxnLst>
              <a:rect l="l" t="t" r="r" b="b"/>
              <a:pathLst>
                <a:path w="215900" h="485775">
                  <a:moveTo>
                    <a:pt x="0" y="0"/>
                  </a:moveTo>
                  <a:lnTo>
                    <a:pt x="215900" y="0"/>
                  </a:lnTo>
                  <a:lnTo>
                    <a:pt x="215900" y="485775"/>
                  </a:lnTo>
                </a:path>
              </a:pathLst>
            </a:cu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5" name="Freeform 940">
              <a:extLst>
                <a:ext uri="{FF2B5EF4-FFF2-40B4-BE49-F238E27FC236}">
                  <a16:creationId xmlns:a16="http://schemas.microsoft.com/office/drawing/2014/main" id="{B00F6E1D-6062-4D94-B78A-CD286D3C86D9}"/>
                </a:ext>
              </a:extLst>
            </p:cNvPr>
            <p:cNvSpPr/>
            <p:nvPr/>
          </p:nvSpPr>
          <p:spPr>
            <a:xfrm>
              <a:off x="9221355" y="6149108"/>
              <a:ext cx="482600" cy="190500"/>
            </a:xfrm>
            <a:custGeom>
              <a:avLst/>
              <a:gdLst>
                <a:gd name="connsiteX0" fmla="*/ 142875 w 482600"/>
                <a:gd name="connsiteY0" fmla="*/ 0 h 190500"/>
                <a:gd name="connsiteX1" fmla="*/ 339725 w 482600"/>
                <a:gd name="connsiteY1" fmla="*/ 0 h 190500"/>
                <a:gd name="connsiteX2" fmla="*/ 339725 w 482600"/>
                <a:gd name="connsiteY2" fmla="*/ 47625 h 190500"/>
                <a:gd name="connsiteX3" fmla="*/ 482600 w 482600"/>
                <a:gd name="connsiteY3" fmla="*/ 47625 h 190500"/>
                <a:gd name="connsiteX4" fmla="*/ 482600 w 482600"/>
                <a:gd name="connsiteY4" fmla="*/ 190500 h 190500"/>
                <a:gd name="connsiteX5" fmla="*/ 0 w 482600"/>
                <a:gd name="connsiteY5" fmla="*/ 190500 h 190500"/>
                <a:gd name="connsiteX6" fmla="*/ 0 w 482600"/>
                <a:gd name="connsiteY6" fmla="*/ 47625 h 190500"/>
                <a:gd name="connsiteX7" fmla="*/ 142875 w 482600"/>
                <a:gd name="connsiteY7" fmla="*/ 47625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2600" h="190500">
                  <a:moveTo>
                    <a:pt x="142875" y="0"/>
                  </a:moveTo>
                  <a:lnTo>
                    <a:pt x="339725" y="0"/>
                  </a:lnTo>
                  <a:lnTo>
                    <a:pt x="339725" y="47625"/>
                  </a:lnTo>
                  <a:lnTo>
                    <a:pt x="482600" y="47625"/>
                  </a:lnTo>
                  <a:lnTo>
                    <a:pt x="482600" y="190500"/>
                  </a:lnTo>
                  <a:lnTo>
                    <a:pt x="0" y="190500"/>
                  </a:lnTo>
                  <a:lnTo>
                    <a:pt x="0" y="47625"/>
                  </a:lnTo>
                  <a:lnTo>
                    <a:pt x="142875" y="47625"/>
                  </a:lnTo>
                  <a:close/>
                </a:path>
              </a:pathLst>
            </a:cu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6" name="Freeform 941">
              <a:extLst>
                <a:ext uri="{FF2B5EF4-FFF2-40B4-BE49-F238E27FC236}">
                  <a16:creationId xmlns:a16="http://schemas.microsoft.com/office/drawing/2014/main" id="{17392C07-5E2D-4739-A4F2-D9DF08D5495D}"/>
                </a:ext>
              </a:extLst>
            </p:cNvPr>
            <p:cNvSpPr/>
            <p:nvPr/>
          </p:nvSpPr>
          <p:spPr bwMode="auto">
            <a:xfrm>
              <a:off x="9671568" y="7021832"/>
              <a:ext cx="333569" cy="212271"/>
            </a:xfrm>
            <a:custGeom>
              <a:avLst/>
              <a:gdLst>
                <a:gd name="connsiteX0" fmla="*/ 0 w 104775"/>
                <a:gd name="connsiteY0" fmla="*/ 28575 h 66675"/>
                <a:gd name="connsiteX1" fmla="*/ 38100 w 104775"/>
                <a:gd name="connsiteY1" fmla="*/ 66675 h 66675"/>
                <a:gd name="connsiteX2" fmla="*/ 104775 w 104775"/>
                <a:gd name="connsiteY2" fmla="*/ 0 h 66675"/>
              </a:gdLst>
              <a:ahLst/>
              <a:cxnLst>
                <a:cxn ang="0">
                  <a:pos x="connsiteX0" y="connsiteY0"/>
                </a:cxn>
                <a:cxn ang="0">
                  <a:pos x="connsiteX1" y="connsiteY1"/>
                </a:cxn>
                <a:cxn ang="0">
                  <a:pos x="connsiteX2" y="connsiteY2"/>
                </a:cxn>
              </a:cxnLst>
              <a:rect l="l" t="t" r="r" b="b"/>
              <a:pathLst>
                <a:path w="104775" h="66675">
                  <a:moveTo>
                    <a:pt x="0" y="28575"/>
                  </a:moveTo>
                  <a:lnTo>
                    <a:pt x="38100" y="66675"/>
                  </a:lnTo>
                  <a:lnTo>
                    <a:pt x="104775" y="0"/>
                  </a:lnTo>
                </a:path>
              </a:pathLst>
            </a:cu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7" name="Oval 216">
              <a:extLst>
                <a:ext uri="{FF2B5EF4-FFF2-40B4-BE49-F238E27FC236}">
                  <a16:creationId xmlns:a16="http://schemas.microsoft.com/office/drawing/2014/main" id="{25A47A8E-8060-42E3-A4D3-7A039E09BDC7}"/>
                </a:ext>
              </a:extLst>
            </p:cNvPr>
            <p:cNvSpPr/>
            <p:nvPr/>
          </p:nvSpPr>
          <p:spPr bwMode="auto">
            <a:xfrm>
              <a:off x="9555323" y="6844938"/>
              <a:ext cx="566057" cy="566055"/>
            </a:xfrm>
            <a:prstGeom prst="ellipse">
              <a:avLst/>
            </a:pr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18" name="Group 10">
            <a:extLst>
              <a:ext uri="{FF2B5EF4-FFF2-40B4-BE49-F238E27FC236}">
                <a16:creationId xmlns:a16="http://schemas.microsoft.com/office/drawing/2014/main" id="{830091A3-D67E-42AD-A0B0-88B8CF8365E6}"/>
              </a:ext>
            </a:extLst>
          </p:cNvPr>
          <p:cNvGrpSpPr>
            <a:grpSpLocks noChangeAspect="1"/>
          </p:cNvGrpSpPr>
          <p:nvPr/>
        </p:nvGrpSpPr>
        <p:grpSpPr bwMode="auto">
          <a:xfrm>
            <a:off x="1438087" y="5122842"/>
            <a:ext cx="372111" cy="368879"/>
            <a:chOff x="2536" y="833"/>
            <a:chExt cx="2764" cy="2740"/>
          </a:xfrm>
          <a:noFill/>
        </p:grpSpPr>
        <p:sp>
          <p:nvSpPr>
            <p:cNvPr id="219" name="Freeform 11">
              <a:extLst>
                <a:ext uri="{FF2B5EF4-FFF2-40B4-BE49-F238E27FC236}">
                  <a16:creationId xmlns:a16="http://schemas.microsoft.com/office/drawing/2014/main" id="{E4CB3829-6B57-4320-B2A5-02C096E3EBF1}"/>
                </a:ext>
              </a:extLst>
            </p:cNvPr>
            <p:cNvSpPr>
              <a:spLocks noEditPoints="1"/>
            </p:cNvSpPr>
            <p:nvPr/>
          </p:nvSpPr>
          <p:spPr bwMode="auto">
            <a:xfrm>
              <a:off x="2536" y="833"/>
              <a:ext cx="2739" cy="2740"/>
            </a:xfrm>
            <a:custGeom>
              <a:avLst/>
              <a:gdLst>
                <a:gd name="T0" fmla="*/ 292 w 2739"/>
                <a:gd name="T1" fmla="*/ 1639 h 2740"/>
                <a:gd name="T2" fmla="*/ 1100 w 2739"/>
                <a:gd name="T3" fmla="*/ 1639 h 2740"/>
                <a:gd name="T4" fmla="*/ 1100 w 2739"/>
                <a:gd name="T5" fmla="*/ 2448 h 2740"/>
                <a:gd name="T6" fmla="*/ 1100 w 2739"/>
                <a:gd name="T7" fmla="*/ 1639 h 2740"/>
                <a:gd name="T8" fmla="*/ 0 w 2739"/>
                <a:gd name="T9" fmla="*/ 2740 h 2740"/>
                <a:gd name="T10" fmla="*/ 1639 w 2739"/>
                <a:gd name="T11" fmla="*/ 291 h 2740"/>
                <a:gd name="T12" fmla="*/ 1639 w 2739"/>
                <a:gd name="T13" fmla="*/ 1100 h 2740"/>
                <a:gd name="T14" fmla="*/ 2447 w 2739"/>
                <a:gd name="T15" fmla="*/ 1100 h 2740"/>
                <a:gd name="T16" fmla="*/ 2739 w 2739"/>
                <a:gd name="T17" fmla="*/ 0 h 2740"/>
                <a:gd name="T18" fmla="*/ 1639 w 2739"/>
                <a:gd name="T19" fmla="*/ 1100 h 2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39" h="2740">
                  <a:moveTo>
                    <a:pt x="292" y="1639"/>
                  </a:moveTo>
                  <a:lnTo>
                    <a:pt x="1100" y="1639"/>
                  </a:lnTo>
                  <a:lnTo>
                    <a:pt x="1100" y="2448"/>
                  </a:lnTo>
                  <a:moveTo>
                    <a:pt x="1100" y="1639"/>
                  </a:moveTo>
                  <a:lnTo>
                    <a:pt x="0" y="2740"/>
                  </a:lnTo>
                  <a:moveTo>
                    <a:pt x="1639" y="291"/>
                  </a:moveTo>
                  <a:lnTo>
                    <a:pt x="1639" y="1100"/>
                  </a:lnTo>
                  <a:lnTo>
                    <a:pt x="2447" y="1100"/>
                  </a:lnTo>
                  <a:moveTo>
                    <a:pt x="2739" y="0"/>
                  </a:moveTo>
                  <a:lnTo>
                    <a:pt x="1639" y="1100"/>
                  </a:lnTo>
                </a:path>
              </a:pathLst>
            </a:custGeom>
            <a:grpFill/>
            <a:ln w="1270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220" name="Freeform 12">
              <a:extLst>
                <a:ext uri="{FF2B5EF4-FFF2-40B4-BE49-F238E27FC236}">
                  <a16:creationId xmlns:a16="http://schemas.microsoft.com/office/drawing/2014/main" id="{72B9D2CD-B1E1-4394-A96E-E2E15CE45E8D}"/>
                </a:ext>
              </a:extLst>
            </p:cNvPr>
            <p:cNvSpPr>
              <a:spLocks noEditPoints="1"/>
            </p:cNvSpPr>
            <p:nvPr/>
          </p:nvSpPr>
          <p:spPr bwMode="auto">
            <a:xfrm>
              <a:off x="2561" y="833"/>
              <a:ext cx="2739" cy="2740"/>
            </a:xfrm>
            <a:custGeom>
              <a:avLst/>
              <a:gdLst>
                <a:gd name="T0" fmla="*/ 1638 w 2739"/>
                <a:gd name="T1" fmla="*/ 2448 h 2740"/>
                <a:gd name="T2" fmla="*/ 1638 w 2739"/>
                <a:gd name="T3" fmla="*/ 1639 h 2740"/>
                <a:gd name="T4" fmla="*/ 2446 w 2739"/>
                <a:gd name="T5" fmla="*/ 1639 h 2740"/>
                <a:gd name="T6" fmla="*/ 2739 w 2739"/>
                <a:gd name="T7" fmla="*/ 2740 h 2740"/>
                <a:gd name="T8" fmla="*/ 1638 w 2739"/>
                <a:gd name="T9" fmla="*/ 1639 h 2740"/>
                <a:gd name="T10" fmla="*/ 291 w 2739"/>
                <a:gd name="T11" fmla="*/ 1100 h 2740"/>
                <a:gd name="T12" fmla="*/ 1099 w 2739"/>
                <a:gd name="T13" fmla="*/ 1100 h 2740"/>
                <a:gd name="T14" fmla="*/ 1099 w 2739"/>
                <a:gd name="T15" fmla="*/ 291 h 2740"/>
                <a:gd name="T16" fmla="*/ 1099 w 2739"/>
                <a:gd name="T17" fmla="*/ 1100 h 2740"/>
                <a:gd name="T18" fmla="*/ 0 w 2739"/>
                <a:gd name="T19" fmla="*/ 0 h 2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39" h="2740">
                  <a:moveTo>
                    <a:pt x="1638" y="2448"/>
                  </a:moveTo>
                  <a:lnTo>
                    <a:pt x="1638" y="1639"/>
                  </a:lnTo>
                  <a:lnTo>
                    <a:pt x="2446" y="1639"/>
                  </a:lnTo>
                  <a:moveTo>
                    <a:pt x="2739" y="2740"/>
                  </a:moveTo>
                  <a:lnTo>
                    <a:pt x="1638" y="1639"/>
                  </a:lnTo>
                  <a:moveTo>
                    <a:pt x="291" y="1100"/>
                  </a:moveTo>
                  <a:lnTo>
                    <a:pt x="1099" y="1100"/>
                  </a:lnTo>
                  <a:lnTo>
                    <a:pt x="1099" y="291"/>
                  </a:lnTo>
                  <a:moveTo>
                    <a:pt x="1099" y="1100"/>
                  </a:moveTo>
                  <a:lnTo>
                    <a:pt x="0" y="0"/>
                  </a:lnTo>
                </a:path>
              </a:pathLst>
            </a:custGeom>
            <a:grpFill/>
            <a:ln w="1270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grpSp>
      <p:grpSp>
        <p:nvGrpSpPr>
          <p:cNvPr id="93" name="Group 92">
            <a:extLst>
              <a:ext uri="{FF2B5EF4-FFF2-40B4-BE49-F238E27FC236}">
                <a16:creationId xmlns:a16="http://schemas.microsoft.com/office/drawing/2014/main" id="{FD316AA3-19A9-42FA-8AAB-F3758407BD09}"/>
              </a:ext>
            </a:extLst>
          </p:cNvPr>
          <p:cNvGrpSpPr/>
          <p:nvPr/>
        </p:nvGrpSpPr>
        <p:grpSpPr>
          <a:xfrm>
            <a:off x="9571687" y="2353818"/>
            <a:ext cx="2391751" cy="3241740"/>
            <a:chOff x="9571688" y="2353818"/>
            <a:chExt cx="2391751" cy="3241740"/>
          </a:xfrm>
          <a:solidFill>
            <a:schemeClr val="tx2"/>
          </a:solidFill>
        </p:grpSpPr>
        <p:grpSp>
          <p:nvGrpSpPr>
            <p:cNvPr id="94" name="Group 93">
              <a:extLst>
                <a:ext uri="{FF2B5EF4-FFF2-40B4-BE49-F238E27FC236}">
                  <a16:creationId xmlns:a16="http://schemas.microsoft.com/office/drawing/2014/main" id="{977C835F-68EE-4491-9370-AD6B93543529}"/>
                </a:ext>
              </a:extLst>
            </p:cNvPr>
            <p:cNvGrpSpPr/>
            <p:nvPr/>
          </p:nvGrpSpPr>
          <p:grpSpPr>
            <a:xfrm>
              <a:off x="11310201" y="2353818"/>
              <a:ext cx="653238" cy="3241740"/>
              <a:chOff x="12076928" y="2353818"/>
              <a:chExt cx="653238" cy="3241740"/>
            </a:xfrm>
            <a:grpFill/>
          </p:grpSpPr>
          <p:sp>
            <p:nvSpPr>
              <p:cNvPr id="107" name="Rectangle 106">
                <a:extLst>
                  <a:ext uri="{FF2B5EF4-FFF2-40B4-BE49-F238E27FC236}">
                    <a16:creationId xmlns:a16="http://schemas.microsoft.com/office/drawing/2014/main" id="{019D642A-52B1-41AF-B289-568D576B1625}"/>
                  </a:ext>
                </a:extLst>
              </p:cNvPr>
              <p:cNvSpPr/>
              <p:nvPr/>
            </p:nvSpPr>
            <p:spPr bwMode="auto">
              <a:xfrm>
                <a:off x="12076928" y="2353818"/>
                <a:ext cx="653238" cy="458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108" name="Rectangle 107">
                <a:extLst>
                  <a:ext uri="{FF2B5EF4-FFF2-40B4-BE49-F238E27FC236}">
                    <a16:creationId xmlns:a16="http://schemas.microsoft.com/office/drawing/2014/main" id="{C22FF296-1C13-424A-877D-765717B945FD}"/>
                  </a:ext>
                </a:extLst>
              </p:cNvPr>
              <p:cNvSpPr/>
              <p:nvPr/>
            </p:nvSpPr>
            <p:spPr bwMode="auto">
              <a:xfrm>
                <a:off x="12076928" y="3049506"/>
                <a:ext cx="653238" cy="458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128" name="Rectangle 127">
                <a:extLst>
                  <a:ext uri="{FF2B5EF4-FFF2-40B4-BE49-F238E27FC236}">
                    <a16:creationId xmlns:a16="http://schemas.microsoft.com/office/drawing/2014/main" id="{24498DD1-3C59-4026-90A6-E26C2E5BFD1C}"/>
                  </a:ext>
                </a:extLst>
              </p:cNvPr>
              <p:cNvSpPr/>
              <p:nvPr/>
            </p:nvSpPr>
            <p:spPr bwMode="auto">
              <a:xfrm>
                <a:off x="12076928" y="3745193"/>
                <a:ext cx="653238" cy="458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129" name="Rectangle 128">
                <a:extLst>
                  <a:ext uri="{FF2B5EF4-FFF2-40B4-BE49-F238E27FC236}">
                    <a16:creationId xmlns:a16="http://schemas.microsoft.com/office/drawing/2014/main" id="{DFA15762-E962-4C98-A7F3-FCA2BC38D0D0}"/>
                  </a:ext>
                </a:extLst>
              </p:cNvPr>
              <p:cNvSpPr/>
              <p:nvPr/>
            </p:nvSpPr>
            <p:spPr bwMode="auto">
              <a:xfrm>
                <a:off x="12076928" y="4440881"/>
                <a:ext cx="653238" cy="458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130" name="Rectangle 129">
                <a:extLst>
                  <a:ext uri="{FF2B5EF4-FFF2-40B4-BE49-F238E27FC236}">
                    <a16:creationId xmlns:a16="http://schemas.microsoft.com/office/drawing/2014/main" id="{340D374C-A398-48E7-9830-A0FCC1E94E77}"/>
                  </a:ext>
                </a:extLst>
              </p:cNvPr>
              <p:cNvSpPr/>
              <p:nvPr/>
            </p:nvSpPr>
            <p:spPr bwMode="auto">
              <a:xfrm>
                <a:off x="12076928" y="5136568"/>
                <a:ext cx="653238" cy="458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grpSp>
        <p:grpSp>
          <p:nvGrpSpPr>
            <p:cNvPr id="95" name="Group 94">
              <a:extLst>
                <a:ext uri="{FF2B5EF4-FFF2-40B4-BE49-F238E27FC236}">
                  <a16:creationId xmlns:a16="http://schemas.microsoft.com/office/drawing/2014/main" id="{07B89E3D-C38A-4B20-B033-852F0FD39555}"/>
                </a:ext>
              </a:extLst>
            </p:cNvPr>
            <p:cNvGrpSpPr/>
            <p:nvPr/>
          </p:nvGrpSpPr>
          <p:grpSpPr>
            <a:xfrm>
              <a:off x="10440944" y="2353818"/>
              <a:ext cx="653238" cy="3241740"/>
              <a:chOff x="12076928" y="2353818"/>
              <a:chExt cx="653238" cy="3241740"/>
            </a:xfrm>
            <a:grpFill/>
          </p:grpSpPr>
          <p:sp>
            <p:nvSpPr>
              <p:cNvPr id="102" name="Rectangle 101">
                <a:extLst>
                  <a:ext uri="{FF2B5EF4-FFF2-40B4-BE49-F238E27FC236}">
                    <a16:creationId xmlns:a16="http://schemas.microsoft.com/office/drawing/2014/main" id="{C1D3738B-9C16-41D8-A676-3993C5351106}"/>
                  </a:ext>
                </a:extLst>
              </p:cNvPr>
              <p:cNvSpPr/>
              <p:nvPr/>
            </p:nvSpPr>
            <p:spPr bwMode="auto">
              <a:xfrm>
                <a:off x="12076928" y="2353818"/>
                <a:ext cx="653238" cy="458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103" name="Rectangle 102">
                <a:extLst>
                  <a:ext uri="{FF2B5EF4-FFF2-40B4-BE49-F238E27FC236}">
                    <a16:creationId xmlns:a16="http://schemas.microsoft.com/office/drawing/2014/main" id="{B1A7BF7F-84E6-40B6-A7EC-29EA87D247DC}"/>
                  </a:ext>
                </a:extLst>
              </p:cNvPr>
              <p:cNvSpPr/>
              <p:nvPr/>
            </p:nvSpPr>
            <p:spPr bwMode="auto">
              <a:xfrm>
                <a:off x="12076928" y="3049506"/>
                <a:ext cx="653238" cy="458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104" name="Rectangle 103">
                <a:extLst>
                  <a:ext uri="{FF2B5EF4-FFF2-40B4-BE49-F238E27FC236}">
                    <a16:creationId xmlns:a16="http://schemas.microsoft.com/office/drawing/2014/main" id="{9273ABB3-4EA8-4BF1-9A20-E110EC58AB5C}"/>
                  </a:ext>
                </a:extLst>
              </p:cNvPr>
              <p:cNvSpPr/>
              <p:nvPr/>
            </p:nvSpPr>
            <p:spPr bwMode="auto">
              <a:xfrm>
                <a:off x="12076928" y="3745193"/>
                <a:ext cx="653238" cy="45899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105" name="Rectangle 104">
                <a:extLst>
                  <a:ext uri="{FF2B5EF4-FFF2-40B4-BE49-F238E27FC236}">
                    <a16:creationId xmlns:a16="http://schemas.microsoft.com/office/drawing/2014/main" id="{CAEC7D98-1785-4AA8-ACBA-2803A5D92604}"/>
                  </a:ext>
                </a:extLst>
              </p:cNvPr>
              <p:cNvSpPr/>
              <p:nvPr/>
            </p:nvSpPr>
            <p:spPr bwMode="auto">
              <a:xfrm>
                <a:off x="12076928" y="4440881"/>
                <a:ext cx="653238" cy="458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106" name="Rectangle 105">
                <a:extLst>
                  <a:ext uri="{FF2B5EF4-FFF2-40B4-BE49-F238E27FC236}">
                    <a16:creationId xmlns:a16="http://schemas.microsoft.com/office/drawing/2014/main" id="{27582DD6-E929-4B0D-A601-1A9083C5F771}"/>
                  </a:ext>
                </a:extLst>
              </p:cNvPr>
              <p:cNvSpPr/>
              <p:nvPr/>
            </p:nvSpPr>
            <p:spPr bwMode="auto">
              <a:xfrm>
                <a:off x="12076928" y="5136568"/>
                <a:ext cx="653238" cy="458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grpSp>
        <p:grpSp>
          <p:nvGrpSpPr>
            <p:cNvPr id="96" name="Group 95">
              <a:extLst>
                <a:ext uri="{FF2B5EF4-FFF2-40B4-BE49-F238E27FC236}">
                  <a16:creationId xmlns:a16="http://schemas.microsoft.com/office/drawing/2014/main" id="{F192391C-0131-4AD8-988A-96634C4F150E}"/>
                </a:ext>
              </a:extLst>
            </p:cNvPr>
            <p:cNvGrpSpPr/>
            <p:nvPr/>
          </p:nvGrpSpPr>
          <p:grpSpPr>
            <a:xfrm>
              <a:off x="9571688" y="2353818"/>
              <a:ext cx="653238" cy="3241740"/>
              <a:chOff x="12076928" y="2353818"/>
              <a:chExt cx="653238" cy="3241740"/>
            </a:xfrm>
            <a:grpFill/>
          </p:grpSpPr>
          <p:sp>
            <p:nvSpPr>
              <p:cNvPr id="97" name="Rectangle 96">
                <a:extLst>
                  <a:ext uri="{FF2B5EF4-FFF2-40B4-BE49-F238E27FC236}">
                    <a16:creationId xmlns:a16="http://schemas.microsoft.com/office/drawing/2014/main" id="{6B4F7ED2-6589-4C79-B565-4958E6ECE145}"/>
                  </a:ext>
                </a:extLst>
              </p:cNvPr>
              <p:cNvSpPr/>
              <p:nvPr/>
            </p:nvSpPr>
            <p:spPr bwMode="auto">
              <a:xfrm>
                <a:off x="12076928" y="2353818"/>
                <a:ext cx="653238" cy="458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98" name="Rectangle 97">
                <a:extLst>
                  <a:ext uri="{FF2B5EF4-FFF2-40B4-BE49-F238E27FC236}">
                    <a16:creationId xmlns:a16="http://schemas.microsoft.com/office/drawing/2014/main" id="{527FA763-23A7-49C7-B1ED-B12087F71970}"/>
                  </a:ext>
                </a:extLst>
              </p:cNvPr>
              <p:cNvSpPr/>
              <p:nvPr/>
            </p:nvSpPr>
            <p:spPr bwMode="auto">
              <a:xfrm>
                <a:off x="12076928" y="3049506"/>
                <a:ext cx="653238" cy="458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99" name="Rectangle 98">
                <a:extLst>
                  <a:ext uri="{FF2B5EF4-FFF2-40B4-BE49-F238E27FC236}">
                    <a16:creationId xmlns:a16="http://schemas.microsoft.com/office/drawing/2014/main" id="{1FA201D8-95C4-4E67-972E-68C9431637B3}"/>
                  </a:ext>
                </a:extLst>
              </p:cNvPr>
              <p:cNvSpPr/>
              <p:nvPr/>
            </p:nvSpPr>
            <p:spPr bwMode="auto">
              <a:xfrm>
                <a:off x="12076928" y="3745193"/>
                <a:ext cx="653238" cy="458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100" name="Rectangle 99">
                <a:extLst>
                  <a:ext uri="{FF2B5EF4-FFF2-40B4-BE49-F238E27FC236}">
                    <a16:creationId xmlns:a16="http://schemas.microsoft.com/office/drawing/2014/main" id="{813107D5-145B-4F26-90D8-591D95FFBF2C}"/>
                  </a:ext>
                </a:extLst>
              </p:cNvPr>
              <p:cNvSpPr/>
              <p:nvPr/>
            </p:nvSpPr>
            <p:spPr bwMode="auto">
              <a:xfrm>
                <a:off x="12076928" y="4440881"/>
                <a:ext cx="653238" cy="458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101" name="Rectangle 100">
                <a:extLst>
                  <a:ext uri="{FF2B5EF4-FFF2-40B4-BE49-F238E27FC236}">
                    <a16:creationId xmlns:a16="http://schemas.microsoft.com/office/drawing/2014/main" id="{ED195665-23B6-4D98-A84B-5BF1D2F02772}"/>
                  </a:ext>
                </a:extLst>
              </p:cNvPr>
              <p:cNvSpPr/>
              <p:nvPr/>
            </p:nvSpPr>
            <p:spPr bwMode="auto">
              <a:xfrm>
                <a:off x="12076928" y="5136568"/>
                <a:ext cx="653238" cy="458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grpSp>
      </p:grpSp>
      <p:sp>
        <p:nvSpPr>
          <p:cNvPr id="155" name="Freeform: Shape 154">
            <a:extLst>
              <a:ext uri="{FF2B5EF4-FFF2-40B4-BE49-F238E27FC236}">
                <a16:creationId xmlns:a16="http://schemas.microsoft.com/office/drawing/2014/main" id="{EF783045-44B2-41D9-B7F6-6239D9773C13}"/>
              </a:ext>
            </a:extLst>
          </p:cNvPr>
          <p:cNvSpPr/>
          <p:nvPr/>
        </p:nvSpPr>
        <p:spPr bwMode="auto">
          <a:xfrm>
            <a:off x="9571687" y="2353818"/>
            <a:ext cx="2391751" cy="3241740"/>
          </a:xfrm>
          <a:custGeom>
            <a:avLst/>
            <a:gdLst>
              <a:gd name="connsiteX0" fmla="*/ 1738513 w 2391751"/>
              <a:gd name="connsiteY0" fmla="*/ 2782750 h 3241740"/>
              <a:gd name="connsiteX1" fmla="*/ 2391751 w 2391751"/>
              <a:gd name="connsiteY1" fmla="*/ 2782750 h 3241740"/>
              <a:gd name="connsiteX2" fmla="*/ 2391751 w 2391751"/>
              <a:gd name="connsiteY2" fmla="*/ 3241740 h 3241740"/>
              <a:gd name="connsiteX3" fmla="*/ 1738513 w 2391751"/>
              <a:gd name="connsiteY3" fmla="*/ 3241740 h 3241740"/>
              <a:gd name="connsiteX4" fmla="*/ 869256 w 2391751"/>
              <a:gd name="connsiteY4" fmla="*/ 2782750 h 3241740"/>
              <a:gd name="connsiteX5" fmla="*/ 1522494 w 2391751"/>
              <a:gd name="connsiteY5" fmla="*/ 2782750 h 3241740"/>
              <a:gd name="connsiteX6" fmla="*/ 1522494 w 2391751"/>
              <a:gd name="connsiteY6" fmla="*/ 3241740 h 3241740"/>
              <a:gd name="connsiteX7" fmla="*/ 869256 w 2391751"/>
              <a:gd name="connsiteY7" fmla="*/ 3241740 h 3241740"/>
              <a:gd name="connsiteX8" fmla="*/ 0 w 2391751"/>
              <a:gd name="connsiteY8" fmla="*/ 2782750 h 3241740"/>
              <a:gd name="connsiteX9" fmla="*/ 653238 w 2391751"/>
              <a:gd name="connsiteY9" fmla="*/ 2782750 h 3241740"/>
              <a:gd name="connsiteX10" fmla="*/ 653238 w 2391751"/>
              <a:gd name="connsiteY10" fmla="*/ 3241740 h 3241740"/>
              <a:gd name="connsiteX11" fmla="*/ 0 w 2391751"/>
              <a:gd name="connsiteY11" fmla="*/ 3241740 h 3241740"/>
              <a:gd name="connsiteX12" fmla="*/ 1738513 w 2391751"/>
              <a:gd name="connsiteY12" fmla="*/ 2087063 h 3241740"/>
              <a:gd name="connsiteX13" fmla="*/ 2391751 w 2391751"/>
              <a:gd name="connsiteY13" fmla="*/ 2087063 h 3241740"/>
              <a:gd name="connsiteX14" fmla="*/ 2391751 w 2391751"/>
              <a:gd name="connsiteY14" fmla="*/ 2546053 h 3241740"/>
              <a:gd name="connsiteX15" fmla="*/ 1738513 w 2391751"/>
              <a:gd name="connsiteY15" fmla="*/ 2546053 h 3241740"/>
              <a:gd name="connsiteX16" fmla="*/ 869256 w 2391751"/>
              <a:gd name="connsiteY16" fmla="*/ 2087063 h 3241740"/>
              <a:gd name="connsiteX17" fmla="*/ 1522494 w 2391751"/>
              <a:gd name="connsiteY17" fmla="*/ 2087063 h 3241740"/>
              <a:gd name="connsiteX18" fmla="*/ 1522494 w 2391751"/>
              <a:gd name="connsiteY18" fmla="*/ 2546053 h 3241740"/>
              <a:gd name="connsiteX19" fmla="*/ 869256 w 2391751"/>
              <a:gd name="connsiteY19" fmla="*/ 2546053 h 3241740"/>
              <a:gd name="connsiteX20" fmla="*/ 0 w 2391751"/>
              <a:gd name="connsiteY20" fmla="*/ 2087063 h 3241740"/>
              <a:gd name="connsiteX21" fmla="*/ 653238 w 2391751"/>
              <a:gd name="connsiteY21" fmla="*/ 2087063 h 3241740"/>
              <a:gd name="connsiteX22" fmla="*/ 653238 w 2391751"/>
              <a:gd name="connsiteY22" fmla="*/ 2546053 h 3241740"/>
              <a:gd name="connsiteX23" fmla="*/ 0 w 2391751"/>
              <a:gd name="connsiteY23" fmla="*/ 2546053 h 3241740"/>
              <a:gd name="connsiteX24" fmla="*/ 1738513 w 2391751"/>
              <a:gd name="connsiteY24" fmla="*/ 1391375 h 3241740"/>
              <a:gd name="connsiteX25" fmla="*/ 2391751 w 2391751"/>
              <a:gd name="connsiteY25" fmla="*/ 1391375 h 3241740"/>
              <a:gd name="connsiteX26" fmla="*/ 2391751 w 2391751"/>
              <a:gd name="connsiteY26" fmla="*/ 1850365 h 3241740"/>
              <a:gd name="connsiteX27" fmla="*/ 1738513 w 2391751"/>
              <a:gd name="connsiteY27" fmla="*/ 1850365 h 3241740"/>
              <a:gd name="connsiteX28" fmla="*/ 869256 w 2391751"/>
              <a:gd name="connsiteY28" fmla="*/ 1391375 h 3241740"/>
              <a:gd name="connsiteX29" fmla="*/ 1522494 w 2391751"/>
              <a:gd name="connsiteY29" fmla="*/ 1391375 h 3241740"/>
              <a:gd name="connsiteX30" fmla="*/ 1522494 w 2391751"/>
              <a:gd name="connsiteY30" fmla="*/ 1850365 h 3241740"/>
              <a:gd name="connsiteX31" fmla="*/ 869256 w 2391751"/>
              <a:gd name="connsiteY31" fmla="*/ 1850365 h 3241740"/>
              <a:gd name="connsiteX32" fmla="*/ 0 w 2391751"/>
              <a:gd name="connsiteY32" fmla="*/ 1391375 h 3241740"/>
              <a:gd name="connsiteX33" fmla="*/ 653238 w 2391751"/>
              <a:gd name="connsiteY33" fmla="*/ 1391375 h 3241740"/>
              <a:gd name="connsiteX34" fmla="*/ 653238 w 2391751"/>
              <a:gd name="connsiteY34" fmla="*/ 1850365 h 3241740"/>
              <a:gd name="connsiteX35" fmla="*/ 0 w 2391751"/>
              <a:gd name="connsiteY35" fmla="*/ 1850365 h 3241740"/>
              <a:gd name="connsiteX36" fmla="*/ 1738513 w 2391751"/>
              <a:gd name="connsiteY36" fmla="*/ 695688 h 3241740"/>
              <a:gd name="connsiteX37" fmla="*/ 2391751 w 2391751"/>
              <a:gd name="connsiteY37" fmla="*/ 695688 h 3241740"/>
              <a:gd name="connsiteX38" fmla="*/ 2391751 w 2391751"/>
              <a:gd name="connsiteY38" fmla="*/ 1154678 h 3241740"/>
              <a:gd name="connsiteX39" fmla="*/ 1738513 w 2391751"/>
              <a:gd name="connsiteY39" fmla="*/ 1154678 h 3241740"/>
              <a:gd name="connsiteX40" fmla="*/ 869256 w 2391751"/>
              <a:gd name="connsiteY40" fmla="*/ 695688 h 3241740"/>
              <a:gd name="connsiteX41" fmla="*/ 1522494 w 2391751"/>
              <a:gd name="connsiteY41" fmla="*/ 695688 h 3241740"/>
              <a:gd name="connsiteX42" fmla="*/ 1522494 w 2391751"/>
              <a:gd name="connsiteY42" fmla="*/ 1154678 h 3241740"/>
              <a:gd name="connsiteX43" fmla="*/ 869256 w 2391751"/>
              <a:gd name="connsiteY43" fmla="*/ 1154678 h 3241740"/>
              <a:gd name="connsiteX44" fmla="*/ 0 w 2391751"/>
              <a:gd name="connsiteY44" fmla="*/ 695688 h 3241740"/>
              <a:gd name="connsiteX45" fmla="*/ 653238 w 2391751"/>
              <a:gd name="connsiteY45" fmla="*/ 695688 h 3241740"/>
              <a:gd name="connsiteX46" fmla="*/ 653238 w 2391751"/>
              <a:gd name="connsiteY46" fmla="*/ 1154678 h 3241740"/>
              <a:gd name="connsiteX47" fmla="*/ 0 w 2391751"/>
              <a:gd name="connsiteY47" fmla="*/ 1154678 h 3241740"/>
              <a:gd name="connsiteX48" fmla="*/ 1738513 w 2391751"/>
              <a:gd name="connsiteY48" fmla="*/ 0 h 3241740"/>
              <a:gd name="connsiteX49" fmla="*/ 2391751 w 2391751"/>
              <a:gd name="connsiteY49" fmla="*/ 0 h 3241740"/>
              <a:gd name="connsiteX50" fmla="*/ 2391751 w 2391751"/>
              <a:gd name="connsiteY50" fmla="*/ 458990 h 3241740"/>
              <a:gd name="connsiteX51" fmla="*/ 1738513 w 2391751"/>
              <a:gd name="connsiteY51" fmla="*/ 458990 h 3241740"/>
              <a:gd name="connsiteX52" fmla="*/ 869256 w 2391751"/>
              <a:gd name="connsiteY52" fmla="*/ 0 h 3241740"/>
              <a:gd name="connsiteX53" fmla="*/ 1522494 w 2391751"/>
              <a:gd name="connsiteY53" fmla="*/ 0 h 3241740"/>
              <a:gd name="connsiteX54" fmla="*/ 1522494 w 2391751"/>
              <a:gd name="connsiteY54" fmla="*/ 458990 h 3241740"/>
              <a:gd name="connsiteX55" fmla="*/ 869256 w 2391751"/>
              <a:gd name="connsiteY55" fmla="*/ 458990 h 3241740"/>
              <a:gd name="connsiteX56" fmla="*/ 0 w 2391751"/>
              <a:gd name="connsiteY56" fmla="*/ 0 h 3241740"/>
              <a:gd name="connsiteX57" fmla="*/ 653238 w 2391751"/>
              <a:gd name="connsiteY57" fmla="*/ 0 h 3241740"/>
              <a:gd name="connsiteX58" fmla="*/ 653238 w 2391751"/>
              <a:gd name="connsiteY58" fmla="*/ 458990 h 3241740"/>
              <a:gd name="connsiteX59" fmla="*/ 0 w 2391751"/>
              <a:gd name="connsiteY59" fmla="*/ 458990 h 3241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2391751" h="3241740">
                <a:moveTo>
                  <a:pt x="1738513" y="2782750"/>
                </a:moveTo>
                <a:lnTo>
                  <a:pt x="2391751" y="2782750"/>
                </a:lnTo>
                <a:lnTo>
                  <a:pt x="2391751" y="3241740"/>
                </a:lnTo>
                <a:lnTo>
                  <a:pt x="1738513" y="3241740"/>
                </a:lnTo>
                <a:close/>
                <a:moveTo>
                  <a:pt x="869256" y="2782750"/>
                </a:moveTo>
                <a:lnTo>
                  <a:pt x="1522494" y="2782750"/>
                </a:lnTo>
                <a:lnTo>
                  <a:pt x="1522494" y="3241740"/>
                </a:lnTo>
                <a:lnTo>
                  <a:pt x="869256" y="3241740"/>
                </a:lnTo>
                <a:close/>
                <a:moveTo>
                  <a:pt x="0" y="2782750"/>
                </a:moveTo>
                <a:lnTo>
                  <a:pt x="653238" y="2782750"/>
                </a:lnTo>
                <a:lnTo>
                  <a:pt x="653238" y="3241740"/>
                </a:lnTo>
                <a:lnTo>
                  <a:pt x="0" y="3241740"/>
                </a:lnTo>
                <a:close/>
                <a:moveTo>
                  <a:pt x="1738513" y="2087063"/>
                </a:moveTo>
                <a:lnTo>
                  <a:pt x="2391751" y="2087063"/>
                </a:lnTo>
                <a:lnTo>
                  <a:pt x="2391751" y="2546053"/>
                </a:lnTo>
                <a:lnTo>
                  <a:pt x="1738513" y="2546053"/>
                </a:lnTo>
                <a:close/>
                <a:moveTo>
                  <a:pt x="869256" y="2087063"/>
                </a:moveTo>
                <a:lnTo>
                  <a:pt x="1522494" y="2087063"/>
                </a:lnTo>
                <a:lnTo>
                  <a:pt x="1522494" y="2546053"/>
                </a:lnTo>
                <a:lnTo>
                  <a:pt x="869256" y="2546053"/>
                </a:lnTo>
                <a:close/>
                <a:moveTo>
                  <a:pt x="0" y="2087063"/>
                </a:moveTo>
                <a:lnTo>
                  <a:pt x="653238" y="2087063"/>
                </a:lnTo>
                <a:lnTo>
                  <a:pt x="653238" y="2546053"/>
                </a:lnTo>
                <a:lnTo>
                  <a:pt x="0" y="2546053"/>
                </a:lnTo>
                <a:close/>
                <a:moveTo>
                  <a:pt x="1738513" y="1391375"/>
                </a:moveTo>
                <a:lnTo>
                  <a:pt x="2391751" y="1391375"/>
                </a:lnTo>
                <a:lnTo>
                  <a:pt x="2391751" y="1850365"/>
                </a:lnTo>
                <a:lnTo>
                  <a:pt x="1738513" y="1850365"/>
                </a:lnTo>
                <a:close/>
                <a:moveTo>
                  <a:pt x="869256" y="1391375"/>
                </a:moveTo>
                <a:lnTo>
                  <a:pt x="1522494" y="1391375"/>
                </a:lnTo>
                <a:lnTo>
                  <a:pt x="1522494" y="1850365"/>
                </a:lnTo>
                <a:lnTo>
                  <a:pt x="869256" y="1850365"/>
                </a:lnTo>
                <a:close/>
                <a:moveTo>
                  <a:pt x="0" y="1391375"/>
                </a:moveTo>
                <a:lnTo>
                  <a:pt x="653238" y="1391375"/>
                </a:lnTo>
                <a:lnTo>
                  <a:pt x="653238" y="1850365"/>
                </a:lnTo>
                <a:lnTo>
                  <a:pt x="0" y="1850365"/>
                </a:lnTo>
                <a:close/>
                <a:moveTo>
                  <a:pt x="1738513" y="695688"/>
                </a:moveTo>
                <a:lnTo>
                  <a:pt x="2391751" y="695688"/>
                </a:lnTo>
                <a:lnTo>
                  <a:pt x="2391751" y="1154678"/>
                </a:lnTo>
                <a:lnTo>
                  <a:pt x="1738513" y="1154678"/>
                </a:lnTo>
                <a:close/>
                <a:moveTo>
                  <a:pt x="869256" y="695688"/>
                </a:moveTo>
                <a:lnTo>
                  <a:pt x="1522494" y="695688"/>
                </a:lnTo>
                <a:lnTo>
                  <a:pt x="1522494" y="1154678"/>
                </a:lnTo>
                <a:lnTo>
                  <a:pt x="869256" y="1154678"/>
                </a:lnTo>
                <a:close/>
                <a:moveTo>
                  <a:pt x="0" y="695688"/>
                </a:moveTo>
                <a:lnTo>
                  <a:pt x="653238" y="695688"/>
                </a:lnTo>
                <a:lnTo>
                  <a:pt x="653238" y="1154678"/>
                </a:lnTo>
                <a:lnTo>
                  <a:pt x="0" y="1154678"/>
                </a:lnTo>
                <a:close/>
                <a:moveTo>
                  <a:pt x="1738513" y="0"/>
                </a:moveTo>
                <a:lnTo>
                  <a:pt x="2391751" y="0"/>
                </a:lnTo>
                <a:lnTo>
                  <a:pt x="2391751" y="458990"/>
                </a:lnTo>
                <a:lnTo>
                  <a:pt x="1738513" y="458990"/>
                </a:lnTo>
                <a:close/>
                <a:moveTo>
                  <a:pt x="869256" y="0"/>
                </a:moveTo>
                <a:lnTo>
                  <a:pt x="1522494" y="0"/>
                </a:lnTo>
                <a:lnTo>
                  <a:pt x="1522494" y="458990"/>
                </a:lnTo>
                <a:lnTo>
                  <a:pt x="869256" y="458990"/>
                </a:lnTo>
                <a:close/>
                <a:moveTo>
                  <a:pt x="0" y="0"/>
                </a:moveTo>
                <a:lnTo>
                  <a:pt x="653238" y="0"/>
                </a:lnTo>
                <a:lnTo>
                  <a:pt x="653238" y="458990"/>
                </a:lnTo>
                <a:lnTo>
                  <a:pt x="0" y="458990"/>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Tree>
    <p:extLst>
      <p:ext uri="{BB962C8B-B14F-4D97-AF65-F5344CB8AC3E}">
        <p14:creationId xmlns:p14="http://schemas.microsoft.com/office/powerpoint/2010/main" val="1464545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withEffect">
                                  <p:stCondLst>
                                    <p:cond delay="500"/>
                                  </p:stCondLst>
                                  <p:childTnLst>
                                    <p:animEffect transition="out" filter="fade">
                                      <p:cBhvr>
                                        <p:cTn id="6" dur="500"/>
                                        <p:tgtEl>
                                          <p:spTgt spid="93"/>
                                        </p:tgtEl>
                                      </p:cBhvr>
                                    </p:animEffect>
                                    <p:set>
                                      <p:cBhvr>
                                        <p:cTn id="7" dur="1" fill="hold">
                                          <p:stCondLst>
                                            <p:cond delay="499"/>
                                          </p:stCondLst>
                                        </p:cTn>
                                        <p:tgtEl>
                                          <p:spTgt spid="93"/>
                                        </p:tgtEl>
                                        <p:attrNameLst>
                                          <p:attrName>style.visibility</p:attrName>
                                        </p:attrNameLst>
                                      </p:cBhvr>
                                      <p:to>
                                        <p:strVal val="hidden"/>
                                      </p:to>
                                    </p:set>
                                  </p:childTnLst>
                                </p:cTn>
                              </p:par>
                              <p:par>
                                <p:cTn id="8" presetID="10" presetClass="entr" presetSubtype="0" fill="hold" grpId="2" nodeType="withEffect">
                                  <p:stCondLst>
                                    <p:cond delay="500"/>
                                  </p:stCondLst>
                                  <p:childTnLst>
                                    <p:set>
                                      <p:cBhvr>
                                        <p:cTn id="9" dur="1" fill="hold">
                                          <p:stCondLst>
                                            <p:cond delay="0"/>
                                          </p:stCondLst>
                                        </p:cTn>
                                        <p:tgtEl>
                                          <p:spTgt spid="155"/>
                                        </p:tgtEl>
                                        <p:attrNameLst>
                                          <p:attrName>style.visibility</p:attrName>
                                        </p:attrNameLst>
                                      </p:cBhvr>
                                      <p:to>
                                        <p:strVal val="visible"/>
                                      </p:to>
                                    </p:set>
                                    <p:animEffect transition="in" filter="fade">
                                      <p:cBhvr>
                                        <p:cTn id="10" dur="500"/>
                                        <p:tgtEl>
                                          <p:spTgt spid="155"/>
                                        </p:tgtEl>
                                      </p:cBhvr>
                                    </p:animEffect>
                                  </p:childTnLst>
                                </p:cTn>
                              </p:par>
                            </p:childTnLst>
                          </p:cTn>
                        </p:par>
                        <p:par>
                          <p:cTn id="11" fill="hold">
                            <p:stCondLst>
                              <p:cond delay="1000"/>
                            </p:stCondLst>
                            <p:childTnLst>
                              <p:par>
                                <p:cTn id="12" presetID="42" presetClass="path" presetSubtype="0" accel="50000" decel="50000" fill="hold" grpId="0" nodeType="afterEffect">
                                  <p:stCondLst>
                                    <p:cond delay="0"/>
                                  </p:stCondLst>
                                  <p:childTnLst>
                                    <p:animMotion origin="layout" path="M -2.91667E-6 3.7037E-7 L -0.38307 0.05301 " pathEditMode="relative" rAng="0" ptsTypes="AA">
                                      <p:cBhvr>
                                        <p:cTn id="13" dur="1500" fill="hold"/>
                                        <p:tgtEl>
                                          <p:spTgt spid="155"/>
                                        </p:tgtEl>
                                        <p:attrNameLst>
                                          <p:attrName>ppt_x</p:attrName>
                                          <p:attrName>ppt_y</p:attrName>
                                        </p:attrNameLst>
                                      </p:cBhvr>
                                      <p:rCtr x="-19154" y="2639"/>
                                    </p:animMotion>
                                  </p:childTnLst>
                                </p:cTn>
                              </p:par>
                              <p:par>
                                <p:cTn id="14" presetID="10" presetClass="exit" presetSubtype="0" fill="hold" grpId="1" nodeType="withEffect">
                                  <p:stCondLst>
                                    <p:cond delay="1000"/>
                                  </p:stCondLst>
                                  <p:childTnLst>
                                    <p:animEffect transition="out" filter="fade">
                                      <p:cBhvr>
                                        <p:cTn id="15" dur="500"/>
                                        <p:tgtEl>
                                          <p:spTgt spid="155"/>
                                        </p:tgtEl>
                                      </p:cBhvr>
                                    </p:animEffect>
                                    <p:set>
                                      <p:cBhvr>
                                        <p:cTn id="16" dur="1" fill="hold">
                                          <p:stCondLst>
                                            <p:cond delay="499"/>
                                          </p:stCondLst>
                                        </p:cTn>
                                        <p:tgtEl>
                                          <p:spTgt spid="155"/>
                                        </p:tgtEl>
                                        <p:attrNameLst>
                                          <p:attrName>style.visibility</p:attrName>
                                        </p:attrNameLst>
                                      </p:cBhvr>
                                      <p:to>
                                        <p:strVal val="hidden"/>
                                      </p:to>
                                    </p:set>
                                  </p:childTnLst>
                                </p:cTn>
                              </p:par>
                              <p:par>
                                <p:cTn id="17" presetID="6" presetClass="emph" presetSubtype="0" fill="hold" grpId="3" nodeType="withEffect">
                                  <p:stCondLst>
                                    <p:cond delay="250"/>
                                  </p:stCondLst>
                                  <p:childTnLst>
                                    <p:animScale>
                                      <p:cBhvr>
                                        <p:cTn id="18" dur="1250" fill="hold"/>
                                        <p:tgtEl>
                                          <p:spTgt spid="155"/>
                                        </p:tgtEl>
                                      </p:cBhvr>
                                      <p:by x="115000" y="100000"/>
                                    </p:animScale>
                                  </p:childTnLst>
                                </p:cTn>
                              </p:par>
                              <p:par>
                                <p:cTn id="19" presetID="10" presetClass="entr" presetSubtype="0" fill="hold" grpId="0" nodeType="withEffect">
                                  <p:stCondLst>
                                    <p:cond delay="750"/>
                                  </p:stCondLst>
                                  <p:childTnLst>
                                    <p:set>
                                      <p:cBhvr>
                                        <p:cTn id="20" dur="1" fill="hold">
                                          <p:stCondLst>
                                            <p:cond delay="0"/>
                                          </p:stCondLst>
                                        </p:cTn>
                                        <p:tgtEl>
                                          <p:spTgt spid="18"/>
                                        </p:tgtEl>
                                        <p:attrNameLst>
                                          <p:attrName>style.visibility</p:attrName>
                                        </p:attrNameLst>
                                      </p:cBhvr>
                                      <p:to>
                                        <p:strVal val="visible"/>
                                      </p:to>
                                    </p:set>
                                    <p:animEffect transition="in" filter="fade">
                                      <p:cBhvr>
                                        <p:cTn id="21" dur="750"/>
                                        <p:tgtEl>
                                          <p:spTgt spid="18"/>
                                        </p:tgtEl>
                                      </p:cBhvr>
                                    </p:animEffect>
                                  </p:childTnLst>
                                </p:cTn>
                              </p:par>
                              <p:par>
                                <p:cTn id="22" presetID="10" presetClass="entr" presetSubtype="0" fill="hold" grpId="0" nodeType="withEffect">
                                  <p:stCondLst>
                                    <p:cond delay="750"/>
                                  </p:stCondLst>
                                  <p:childTnLst>
                                    <p:set>
                                      <p:cBhvr>
                                        <p:cTn id="23" dur="1" fill="hold">
                                          <p:stCondLst>
                                            <p:cond delay="0"/>
                                          </p:stCondLst>
                                        </p:cTn>
                                        <p:tgtEl>
                                          <p:spTgt spid="196"/>
                                        </p:tgtEl>
                                        <p:attrNameLst>
                                          <p:attrName>style.visibility</p:attrName>
                                        </p:attrNameLst>
                                      </p:cBhvr>
                                      <p:to>
                                        <p:strVal val="visible"/>
                                      </p:to>
                                    </p:set>
                                    <p:animEffect transition="in" filter="fade">
                                      <p:cBhvr>
                                        <p:cTn id="24" dur="750"/>
                                        <p:tgtEl>
                                          <p:spTgt spid="196"/>
                                        </p:tgtEl>
                                      </p:cBhvr>
                                    </p:animEffect>
                                  </p:childTnLst>
                                </p:cTn>
                              </p:par>
                              <p:par>
                                <p:cTn id="25" presetID="10" presetClass="entr" presetSubtype="0" fill="hold" grpId="0" nodeType="withEffect">
                                  <p:stCondLst>
                                    <p:cond delay="750"/>
                                  </p:stCondLst>
                                  <p:childTnLst>
                                    <p:set>
                                      <p:cBhvr>
                                        <p:cTn id="26" dur="1" fill="hold">
                                          <p:stCondLst>
                                            <p:cond delay="0"/>
                                          </p:stCondLst>
                                        </p:cTn>
                                        <p:tgtEl>
                                          <p:spTgt spid="5"/>
                                        </p:tgtEl>
                                        <p:attrNameLst>
                                          <p:attrName>style.visibility</p:attrName>
                                        </p:attrNameLst>
                                      </p:cBhvr>
                                      <p:to>
                                        <p:strVal val="visible"/>
                                      </p:to>
                                    </p:set>
                                    <p:animEffect transition="in" filter="fade">
                                      <p:cBhvr>
                                        <p:cTn id="27" dur="750"/>
                                        <p:tgtEl>
                                          <p:spTgt spid="5"/>
                                        </p:tgtEl>
                                      </p:cBhvr>
                                    </p:animEffect>
                                  </p:childTnLst>
                                </p:cTn>
                              </p:par>
                              <p:par>
                                <p:cTn id="28" presetID="10" presetClass="entr" presetSubtype="0" fill="hold" grpId="0" nodeType="withEffect">
                                  <p:stCondLst>
                                    <p:cond delay="750"/>
                                  </p:stCondLst>
                                  <p:childTnLst>
                                    <p:set>
                                      <p:cBhvr>
                                        <p:cTn id="29" dur="1" fill="hold">
                                          <p:stCondLst>
                                            <p:cond delay="0"/>
                                          </p:stCondLst>
                                        </p:cTn>
                                        <p:tgtEl>
                                          <p:spTgt spid="69"/>
                                        </p:tgtEl>
                                        <p:attrNameLst>
                                          <p:attrName>style.visibility</p:attrName>
                                        </p:attrNameLst>
                                      </p:cBhvr>
                                      <p:to>
                                        <p:strVal val="visible"/>
                                      </p:to>
                                    </p:set>
                                    <p:animEffect transition="in" filter="fade">
                                      <p:cBhvr>
                                        <p:cTn id="30" dur="750"/>
                                        <p:tgtEl>
                                          <p:spTgt spid="69"/>
                                        </p:tgtEl>
                                      </p:cBhvr>
                                    </p:animEffect>
                                  </p:childTnLst>
                                </p:cTn>
                              </p:par>
                              <p:par>
                                <p:cTn id="31" presetID="10" presetClass="entr" presetSubtype="0" fill="hold" nodeType="withEffect">
                                  <p:stCondLst>
                                    <p:cond delay="750"/>
                                  </p:stCondLst>
                                  <p:childTnLst>
                                    <p:set>
                                      <p:cBhvr>
                                        <p:cTn id="32" dur="1" fill="hold">
                                          <p:stCondLst>
                                            <p:cond delay="0"/>
                                          </p:stCondLst>
                                        </p:cTn>
                                        <p:tgtEl>
                                          <p:spTgt spid="2"/>
                                        </p:tgtEl>
                                        <p:attrNameLst>
                                          <p:attrName>style.visibility</p:attrName>
                                        </p:attrNameLst>
                                      </p:cBhvr>
                                      <p:to>
                                        <p:strVal val="visible"/>
                                      </p:to>
                                    </p:set>
                                    <p:animEffect transition="in" filter="fade">
                                      <p:cBhvr>
                                        <p:cTn id="33" dur="750"/>
                                        <p:tgtEl>
                                          <p:spTgt spid="2"/>
                                        </p:tgtEl>
                                      </p:cBhvr>
                                    </p:animEffect>
                                  </p:childTnLst>
                                </p:cTn>
                              </p:par>
                              <p:par>
                                <p:cTn id="34" presetID="10" presetClass="entr" presetSubtype="0" fill="hold" grpId="0" nodeType="withEffect">
                                  <p:stCondLst>
                                    <p:cond delay="750"/>
                                  </p:stCondLst>
                                  <p:childTnLst>
                                    <p:set>
                                      <p:cBhvr>
                                        <p:cTn id="35" dur="1" fill="hold">
                                          <p:stCondLst>
                                            <p:cond delay="0"/>
                                          </p:stCondLst>
                                        </p:cTn>
                                        <p:tgtEl>
                                          <p:spTgt spid="147"/>
                                        </p:tgtEl>
                                        <p:attrNameLst>
                                          <p:attrName>style.visibility</p:attrName>
                                        </p:attrNameLst>
                                      </p:cBhvr>
                                      <p:to>
                                        <p:strVal val="visible"/>
                                      </p:to>
                                    </p:set>
                                    <p:animEffect transition="in" filter="fade">
                                      <p:cBhvr>
                                        <p:cTn id="36" dur="750"/>
                                        <p:tgtEl>
                                          <p:spTgt spid="147"/>
                                        </p:tgtEl>
                                      </p:cBhvr>
                                    </p:animEffect>
                                  </p:childTnLst>
                                </p:cTn>
                              </p:par>
                              <p:par>
                                <p:cTn id="37" presetID="10" presetClass="entr" presetSubtype="0" fill="hold" grpId="0" nodeType="withEffect">
                                  <p:stCondLst>
                                    <p:cond delay="750"/>
                                  </p:stCondLst>
                                  <p:childTnLst>
                                    <p:set>
                                      <p:cBhvr>
                                        <p:cTn id="38" dur="1" fill="hold">
                                          <p:stCondLst>
                                            <p:cond delay="0"/>
                                          </p:stCondLst>
                                        </p:cTn>
                                        <p:tgtEl>
                                          <p:spTgt spid="148"/>
                                        </p:tgtEl>
                                        <p:attrNameLst>
                                          <p:attrName>style.visibility</p:attrName>
                                        </p:attrNameLst>
                                      </p:cBhvr>
                                      <p:to>
                                        <p:strVal val="visible"/>
                                      </p:to>
                                    </p:set>
                                    <p:animEffect transition="in" filter="fade">
                                      <p:cBhvr>
                                        <p:cTn id="39" dur="750"/>
                                        <p:tgtEl>
                                          <p:spTgt spid="148"/>
                                        </p:tgtEl>
                                      </p:cBhvr>
                                    </p:animEffect>
                                  </p:childTnLst>
                                </p:cTn>
                              </p:par>
                              <p:par>
                                <p:cTn id="40" presetID="10" presetClass="entr" presetSubtype="0" fill="hold" grpId="0" nodeType="withEffect">
                                  <p:stCondLst>
                                    <p:cond delay="750"/>
                                  </p:stCondLst>
                                  <p:childTnLst>
                                    <p:set>
                                      <p:cBhvr>
                                        <p:cTn id="41" dur="1" fill="hold">
                                          <p:stCondLst>
                                            <p:cond delay="0"/>
                                          </p:stCondLst>
                                        </p:cTn>
                                        <p:tgtEl>
                                          <p:spTgt spid="149"/>
                                        </p:tgtEl>
                                        <p:attrNameLst>
                                          <p:attrName>style.visibility</p:attrName>
                                        </p:attrNameLst>
                                      </p:cBhvr>
                                      <p:to>
                                        <p:strVal val="visible"/>
                                      </p:to>
                                    </p:set>
                                    <p:animEffect transition="in" filter="fade">
                                      <p:cBhvr>
                                        <p:cTn id="42" dur="750"/>
                                        <p:tgtEl>
                                          <p:spTgt spid="149"/>
                                        </p:tgtEl>
                                      </p:cBhvr>
                                    </p:animEffect>
                                  </p:childTnLst>
                                </p:cTn>
                              </p:par>
                              <p:par>
                                <p:cTn id="43" presetID="10" presetClass="entr" presetSubtype="0" fill="hold" grpId="0" nodeType="withEffect">
                                  <p:stCondLst>
                                    <p:cond delay="750"/>
                                  </p:stCondLst>
                                  <p:childTnLst>
                                    <p:set>
                                      <p:cBhvr>
                                        <p:cTn id="44" dur="1" fill="hold">
                                          <p:stCondLst>
                                            <p:cond delay="0"/>
                                          </p:stCondLst>
                                        </p:cTn>
                                        <p:tgtEl>
                                          <p:spTgt spid="150"/>
                                        </p:tgtEl>
                                        <p:attrNameLst>
                                          <p:attrName>style.visibility</p:attrName>
                                        </p:attrNameLst>
                                      </p:cBhvr>
                                      <p:to>
                                        <p:strVal val="visible"/>
                                      </p:to>
                                    </p:set>
                                    <p:animEffect transition="in" filter="fade">
                                      <p:cBhvr>
                                        <p:cTn id="45" dur="750"/>
                                        <p:tgtEl>
                                          <p:spTgt spid="150"/>
                                        </p:tgtEl>
                                      </p:cBhvr>
                                    </p:animEffect>
                                  </p:childTnLst>
                                </p:cTn>
                              </p:par>
                              <p:par>
                                <p:cTn id="46" presetID="10" presetClass="entr" presetSubtype="0" fill="hold" grpId="0" nodeType="withEffect">
                                  <p:stCondLst>
                                    <p:cond delay="750"/>
                                  </p:stCondLst>
                                  <p:childTnLst>
                                    <p:set>
                                      <p:cBhvr>
                                        <p:cTn id="47" dur="1" fill="hold">
                                          <p:stCondLst>
                                            <p:cond delay="0"/>
                                          </p:stCondLst>
                                        </p:cTn>
                                        <p:tgtEl>
                                          <p:spTgt spid="32"/>
                                        </p:tgtEl>
                                        <p:attrNameLst>
                                          <p:attrName>style.visibility</p:attrName>
                                        </p:attrNameLst>
                                      </p:cBhvr>
                                      <p:to>
                                        <p:strVal val="visible"/>
                                      </p:to>
                                    </p:set>
                                    <p:animEffect transition="in" filter="fade">
                                      <p:cBhvr>
                                        <p:cTn id="48" dur="750"/>
                                        <p:tgtEl>
                                          <p:spTgt spid="32"/>
                                        </p:tgtEl>
                                      </p:cBhvr>
                                    </p:animEffect>
                                  </p:childTnLst>
                                </p:cTn>
                              </p:par>
                              <p:par>
                                <p:cTn id="49" presetID="10" presetClass="entr" presetSubtype="0" fill="hold" nodeType="withEffect">
                                  <p:stCondLst>
                                    <p:cond delay="750"/>
                                  </p:stCondLst>
                                  <p:childTnLst>
                                    <p:set>
                                      <p:cBhvr>
                                        <p:cTn id="50" dur="1" fill="hold">
                                          <p:stCondLst>
                                            <p:cond delay="0"/>
                                          </p:stCondLst>
                                        </p:cTn>
                                        <p:tgtEl>
                                          <p:spTgt spid="109"/>
                                        </p:tgtEl>
                                        <p:attrNameLst>
                                          <p:attrName>style.visibility</p:attrName>
                                        </p:attrNameLst>
                                      </p:cBhvr>
                                      <p:to>
                                        <p:strVal val="visible"/>
                                      </p:to>
                                    </p:set>
                                    <p:animEffect transition="in" filter="fade">
                                      <p:cBhvr>
                                        <p:cTn id="51" dur="750"/>
                                        <p:tgtEl>
                                          <p:spTgt spid="109"/>
                                        </p:tgtEl>
                                      </p:cBhvr>
                                    </p:animEffect>
                                  </p:childTnLst>
                                </p:cTn>
                              </p:par>
                              <p:par>
                                <p:cTn id="52" presetID="10" presetClass="entr" presetSubtype="0" fill="hold" nodeType="withEffect">
                                  <p:stCondLst>
                                    <p:cond delay="750"/>
                                  </p:stCondLst>
                                  <p:childTnLst>
                                    <p:set>
                                      <p:cBhvr>
                                        <p:cTn id="53" dur="1" fill="hold">
                                          <p:stCondLst>
                                            <p:cond delay="0"/>
                                          </p:stCondLst>
                                        </p:cTn>
                                        <p:tgtEl>
                                          <p:spTgt spid="212"/>
                                        </p:tgtEl>
                                        <p:attrNameLst>
                                          <p:attrName>style.visibility</p:attrName>
                                        </p:attrNameLst>
                                      </p:cBhvr>
                                      <p:to>
                                        <p:strVal val="visible"/>
                                      </p:to>
                                    </p:set>
                                    <p:animEffect transition="in" filter="fade">
                                      <p:cBhvr>
                                        <p:cTn id="54" dur="750"/>
                                        <p:tgtEl>
                                          <p:spTgt spid="212"/>
                                        </p:tgtEl>
                                      </p:cBhvr>
                                    </p:animEffect>
                                  </p:childTnLst>
                                </p:cTn>
                              </p:par>
                              <p:par>
                                <p:cTn id="55" presetID="10" presetClass="entr" presetSubtype="0" fill="hold" grpId="0" nodeType="withEffect">
                                  <p:stCondLst>
                                    <p:cond delay="750"/>
                                  </p:stCondLst>
                                  <p:childTnLst>
                                    <p:set>
                                      <p:cBhvr>
                                        <p:cTn id="56" dur="1" fill="hold">
                                          <p:stCondLst>
                                            <p:cond delay="0"/>
                                          </p:stCondLst>
                                        </p:cTn>
                                        <p:tgtEl>
                                          <p:spTgt spid="71"/>
                                        </p:tgtEl>
                                        <p:attrNameLst>
                                          <p:attrName>style.visibility</p:attrName>
                                        </p:attrNameLst>
                                      </p:cBhvr>
                                      <p:to>
                                        <p:strVal val="visible"/>
                                      </p:to>
                                    </p:set>
                                    <p:animEffect transition="in" filter="fade">
                                      <p:cBhvr>
                                        <p:cTn id="57" dur="750"/>
                                        <p:tgtEl>
                                          <p:spTgt spid="71"/>
                                        </p:tgtEl>
                                      </p:cBhvr>
                                    </p:animEffect>
                                  </p:childTnLst>
                                </p:cTn>
                              </p:par>
                              <p:par>
                                <p:cTn id="58" presetID="10" presetClass="entr" presetSubtype="0" fill="hold" nodeType="withEffect">
                                  <p:stCondLst>
                                    <p:cond delay="750"/>
                                  </p:stCondLst>
                                  <p:childTnLst>
                                    <p:set>
                                      <p:cBhvr>
                                        <p:cTn id="59" dur="1" fill="hold">
                                          <p:stCondLst>
                                            <p:cond delay="0"/>
                                          </p:stCondLst>
                                        </p:cTn>
                                        <p:tgtEl>
                                          <p:spTgt spid="218"/>
                                        </p:tgtEl>
                                        <p:attrNameLst>
                                          <p:attrName>style.visibility</p:attrName>
                                        </p:attrNameLst>
                                      </p:cBhvr>
                                      <p:to>
                                        <p:strVal val="visible"/>
                                      </p:to>
                                    </p:set>
                                    <p:animEffect transition="in" filter="fade">
                                      <p:cBhvr>
                                        <p:cTn id="60" dur="750"/>
                                        <p:tgtEl>
                                          <p:spTgt spid="218"/>
                                        </p:tgtEl>
                                      </p:cBhvr>
                                    </p:animEffect>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grpId="0" nodeType="clickEffect">
                                  <p:stCondLst>
                                    <p:cond delay="250"/>
                                  </p:stCondLst>
                                  <p:childTnLst>
                                    <p:set>
                                      <p:cBhvr>
                                        <p:cTn id="64" dur="1" fill="hold">
                                          <p:stCondLst>
                                            <p:cond delay="0"/>
                                          </p:stCondLst>
                                        </p:cTn>
                                        <p:tgtEl>
                                          <p:spTgt spid="206"/>
                                        </p:tgtEl>
                                        <p:attrNameLst>
                                          <p:attrName>style.visibility</p:attrName>
                                        </p:attrNameLst>
                                      </p:cBhvr>
                                      <p:to>
                                        <p:strVal val="visible"/>
                                      </p:to>
                                    </p:set>
                                    <p:animEffect transition="in" filter="fade">
                                      <p:cBhvr>
                                        <p:cTn id="65" dur="500"/>
                                        <p:tgtEl>
                                          <p:spTgt spid="206"/>
                                        </p:tgtEl>
                                      </p:cBhvr>
                                    </p:animEffect>
                                  </p:childTnLst>
                                </p:cTn>
                              </p:par>
                              <p:par>
                                <p:cTn id="66" presetID="10" presetClass="entr" presetSubtype="0" fill="hold" grpId="0" nodeType="withEffect">
                                  <p:stCondLst>
                                    <p:cond delay="250"/>
                                  </p:stCondLst>
                                  <p:childTnLst>
                                    <p:set>
                                      <p:cBhvr>
                                        <p:cTn id="67" dur="1" fill="hold">
                                          <p:stCondLst>
                                            <p:cond delay="0"/>
                                          </p:stCondLst>
                                        </p:cTn>
                                        <p:tgtEl>
                                          <p:spTgt spid="3"/>
                                        </p:tgtEl>
                                        <p:attrNameLst>
                                          <p:attrName>style.visibility</p:attrName>
                                        </p:attrNameLst>
                                      </p:cBhvr>
                                      <p:to>
                                        <p:strVal val="visible"/>
                                      </p:to>
                                    </p:set>
                                    <p:animEffect transition="in" filter="fade">
                                      <p:cBhvr>
                                        <p:cTn id="68" dur="750"/>
                                        <p:tgtEl>
                                          <p:spTgt spid="3"/>
                                        </p:tgtEl>
                                      </p:cBhvr>
                                    </p:animEffect>
                                  </p:childTnLst>
                                </p:cTn>
                              </p:par>
                              <p:par>
                                <p:cTn id="69" presetID="10" presetClass="entr" presetSubtype="0" fill="hold" grpId="0" nodeType="withEffect">
                                  <p:stCondLst>
                                    <p:cond delay="500"/>
                                  </p:stCondLst>
                                  <p:childTnLst>
                                    <p:set>
                                      <p:cBhvr>
                                        <p:cTn id="70" dur="1" fill="hold">
                                          <p:stCondLst>
                                            <p:cond delay="0"/>
                                          </p:stCondLst>
                                        </p:cTn>
                                        <p:tgtEl>
                                          <p:spTgt spid="207"/>
                                        </p:tgtEl>
                                        <p:attrNameLst>
                                          <p:attrName>style.visibility</p:attrName>
                                        </p:attrNameLst>
                                      </p:cBhvr>
                                      <p:to>
                                        <p:strVal val="visible"/>
                                      </p:to>
                                    </p:set>
                                    <p:animEffect transition="in" filter="fade">
                                      <p:cBhvr>
                                        <p:cTn id="71" dur="750"/>
                                        <p:tgtEl>
                                          <p:spTgt spid="207"/>
                                        </p:tgtEl>
                                      </p:cBhvr>
                                    </p:animEffect>
                                  </p:childTnLst>
                                </p:cTn>
                              </p:par>
                              <p:par>
                                <p:cTn id="72" presetID="10" presetClass="entr" presetSubtype="0" fill="hold" grpId="0" nodeType="withEffect">
                                  <p:stCondLst>
                                    <p:cond delay="250"/>
                                  </p:stCondLst>
                                  <p:childTnLst>
                                    <p:set>
                                      <p:cBhvr>
                                        <p:cTn id="73" dur="1" fill="hold">
                                          <p:stCondLst>
                                            <p:cond delay="0"/>
                                          </p:stCondLst>
                                        </p:cTn>
                                        <p:tgtEl>
                                          <p:spTgt spid="208"/>
                                        </p:tgtEl>
                                        <p:attrNameLst>
                                          <p:attrName>style.visibility</p:attrName>
                                        </p:attrNameLst>
                                      </p:cBhvr>
                                      <p:to>
                                        <p:strVal val="visible"/>
                                      </p:to>
                                    </p:set>
                                    <p:animEffect transition="in" filter="fade">
                                      <p:cBhvr>
                                        <p:cTn id="74" dur="750"/>
                                        <p:tgtEl>
                                          <p:spTgt spid="208"/>
                                        </p:tgtEl>
                                      </p:cBhvr>
                                    </p:animEffect>
                                  </p:childTnLst>
                                </p:cTn>
                              </p:par>
                              <p:par>
                                <p:cTn id="75" presetID="10" presetClass="entr" presetSubtype="0" fill="hold" grpId="0" nodeType="withEffect">
                                  <p:stCondLst>
                                    <p:cond delay="500"/>
                                  </p:stCondLst>
                                  <p:childTnLst>
                                    <p:set>
                                      <p:cBhvr>
                                        <p:cTn id="76" dur="1" fill="hold">
                                          <p:stCondLst>
                                            <p:cond delay="0"/>
                                          </p:stCondLst>
                                        </p:cTn>
                                        <p:tgtEl>
                                          <p:spTgt spid="209"/>
                                        </p:tgtEl>
                                        <p:attrNameLst>
                                          <p:attrName>style.visibility</p:attrName>
                                        </p:attrNameLst>
                                      </p:cBhvr>
                                      <p:to>
                                        <p:strVal val="visible"/>
                                      </p:to>
                                    </p:set>
                                    <p:animEffect transition="in" filter="fade">
                                      <p:cBhvr>
                                        <p:cTn id="77" dur="750"/>
                                        <p:tgtEl>
                                          <p:spTgt spid="209"/>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210"/>
                                        </p:tgtEl>
                                        <p:attrNameLst>
                                          <p:attrName>style.visibility</p:attrName>
                                        </p:attrNameLst>
                                      </p:cBhvr>
                                      <p:to>
                                        <p:strVal val="visible"/>
                                      </p:to>
                                    </p:set>
                                    <p:animEffect transition="in" filter="fade">
                                      <p:cBhvr>
                                        <p:cTn id="80" dur="500"/>
                                        <p:tgtEl>
                                          <p:spTgt spid="210"/>
                                        </p:tgtEl>
                                      </p:cBhvr>
                                    </p:animEffect>
                                  </p:childTnLst>
                                </p:cTn>
                              </p:par>
                              <p:par>
                                <p:cTn id="81" presetID="10" presetClass="entr" presetSubtype="0" fill="hold" grpId="0" nodeType="withEffect">
                                  <p:stCondLst>
                                    <p:cond delay="250"/>
                                  </p:stCondLst>
                                  <p:childTnLst>
                                    <p:set>
                                      <p:cBhvr>
                                        <p:cTn id="82" dur="1" fill="hold">
                                          <p:stCondLst>
                                            <p:cond delay="0"/>
                                          </p:stCondLst>
                                        </p:cTn>
                                        <p:tgtEl>
                                          <p:spTgt spid="92"/>
                                        </p:tgtEl>
                                        <p:attrNameLst>
                                          <p:attrName>style.visibility</p:attrName>
                                        </p:attrNameLst>
                                      </p:cBhvr>
                                      <p:to>
                                        <p:strVal val="visible"/>
                                      </p:to>
                                    </p:set>
                                    <p:animEffect transition="in" filter="fade">
                                      <p:cBhvr>
                                        <p:cTn id="83" dur="650"/>
                                        <p:tgtEl>
                                          <p:spTgt spid="92"/>
                                        </p:tgtEl>
                                      </p:cBhvr>
                                    </p:animEffect>
                                  </p:childTnLst>
                                </p:cTn>
                              </p:par>
                              <p:par>
                                <p:cTn id="84" presetID="10" presetClass="entr" presetSubtype="0" fill="hold" grpId="0" nodeType="withEffect">
                                  <p:stCondLst>
                                    <p:cond delay="750"/>
                                  </p:stCondLst>
                                  <p:childTnLst>
                                    <p:set>
                                      <p:cBhvr>
                                        <p:cTn id="85" dur="1" fill="hold">
                                          <p:stCondLst>
                                            <p:cond delay="0"/>
                                          </p:stCondLst>
                                        </p:cTn>
                                        <p:tgtEl>
                                          <p:spTgt spid="56"/>
                                        </p:tgtEl>
                                        <p:attrNameLst>
                                          <p:attrName>style.visibility</p:attrName>
                                        </p:attrNameLst>
                                      </p:cBhvr>
                                      <p:to>
                                        <p:strVal val="visible"/>
                                      </p:to>
                                    </p:set>
                                    <p:animEffect transition="in" filter="fade">
                                      <p:cBhvr>
                                        <p:cTn id="86" dur="500"/>
                                        <p:tgtEl>
                                          <p:spTgt spid="56"/>
                                        </p:tgtEl>
                                      </p:cBhvr>
                                    </p:animEffect>
                                  </p:childTnLst>
                                </p:cTn>
                              </p:par>
                              <p:par>
                                <p:cTn id="87" presetID="10" presetClass="entr" presetSubtype="0" fill="hold" grpId="0" nodeType="withEffect">
                                  <p:stCondLst>
                                    <p:cond delay="1250"/>
                                  </p:stCondLst>
                                  <p:childTnLst>
                                    <p:set>
                                      <p:cBhvr>
                                        <p:cTn id="88" dur="1" fill="hold">
                                          <p:stCondLst>
                                            <p:cond delay="0"/>
                                          </p:stCondLst>
                                        </p:cTn>
                                        <p:tgtEl>
                                          <p:spTgt spid="57"/>
                                        </p:tgtEl>
                                        <p:attrNameLst>
                                          <p:attrName>style.visibility</p:attrName>
                                        </p:attrNameLst>
                                      </p:cBhvr>
                                      <p:to>
                                        <p:strVal val="visible"/>
                                      </p:to>
                                    </p:set>
                                    <p:animEffect transition="in" filter="fade">
                                      <p:cBhvr>
                                        <p:cTn id="89" dur="750"/>
                                        <p:tgtEl>
                                          <p:spTgt spid="57"/>
                                        </p:tgtEl>
                                      </p:cBhvr>
                                    </p:animEffect>
                                  </p:childTnLst>
                                </p:cTn>
                              </p:par>
                              <p:par>
                                <p:cTn id="90" presetID="10" presetClass="entr" presetSubtype="0" fill="hold" grpId="0" nodeType="withEffect">
                                  <p:stCondLst>
                                    <p:cond delay="1000"/>
                                  </p:stCondLst>
                                  <p:childTnLst>
                                    <p:set>
                                      <p:cBhvr>
                                        <p:cTn id="91" dur="1" fill="hold">
                                          <p:stCondLst>
                                            <p:cond delay="0"/>
                                          </p:stCondLst>
                                        </p:cTn>
                                        <p:tgtEl>
                                          <p:spTgt spid="58"/>
                                        </p:tgtEl>
                                        <p:attrNameLst>
                                          <p:attrName>style.visibility</p:attrName>
                                        </p:attrNameLst>
                                      </p:cBhvr>
                                      <p:to>
                                        <p:strVal val="visible"/>
                                      </p:to>
                                    </p:set>
                                    <p:animEffect transition="in" filter="fade">
                                      <p:cBhvr>
                                        <p:cTn id="92" dur="750"/>
                                        <p:tgtEl>
                                          <p:spTgt spid="58"/>
                                        </p:tgtEl>
                                      </p:cBhvr>
                                    </p:animEffect>
                                  </p:childTnLst>
                                </p:cTn>
                              </p:par>
                              <p:par>
                                <p:cTn id="93" presetID="10" presetClass="entr" presetSubtype="0" fill="hold" grpId="0" nodeType="withEffect">
                                  <p:stCondLst>
                                    <p:cond delay="1250"/>
                                  </p:stCondLst>
                                  <p:childTnLst>
                                    <p:set>
                                      <p:cBhvr>
                                        <p:cTn id="94" dur="1" fill="hold">
                                          <p:stCondLst>
                                            <p:cond delay="0"/>
                                          </p:stCondLst>
                                        </p:cTn>
                                        <p:tgtEl>
                                          <p:spTgt spid="62"/>
                                        </p:tgtEl>
                                        <p:attrNameLst>
                                          <p:attrName>style.visibility</p:attrName>
                                        </p:attrNameLst>
                                      </p:cBhvr>
                                      <p:to>
                                        <p:strVal val="visible"/>
                                      </p:to>
                                    </p:set>
                                    <p:animEffect transition="in" filter="fade">
                                      <p:cBhvr>
                                        <p:cTn id="95" dur="750"/>
                                        <p:tgtEl>
                                          <p:spTgt spid="62"/>
                                        </p:tgtEl>
                                      </p:cBhvr>
                                    </p:animEffect>
                                  </p:childTnLst>
                                </p:cTn>
                              </p:par>
                              <p:par>
                                <p:cTn id="96" presetID="10" presetClass="entr" presetSubtype="0" fill="hold" grpId="0" nodeType="withEffect">
                                  <p:stCondLst>
                                    <p:cond delay="500"/>
                                  </p:stCondLst>
                                  <p:childTnLst>
                                    <p:set>
                                      <p:cBhvr>
                                        <p:cTn id="97" dur="1" fill="hold">
                                          <p:stCondLst>
                                            <p:cond delay="0"/>
                                          </p:stCondLst>
                                        </p:cTn>
                                        <p:tgtEl>
                                          <p:spTgt spid="63"/>
                                        </p:tgtEl>
                                        <p:attrNameLst>
                                          <p:attrName>style.visibility</p:attrName>
                                        </p:attrNameLst>
                                      </p:cBhvr>
                                      <p:to>
                                        <p:strVal val="visible"/>
                                      </p:to>
                                    </p:set>
                                    <p:animEffect transition="in" filter="fade">
                                      <p:cBhvr>
                                        <p:cTn id="98" dur="500"/>
                                        <p:tgtEl>
                                          <p:spTgt spid="63"/>
                                        </p:tgtEl>
                                      </p:cBhvr>
                                    </p:animEffect>
                                  </p:childTnLst>
                                </p:cTn>
                              </p:par>
                              <p:par>
                                <p:cTn id="99" presetID="10" presetClass="entr" presetSubtype="0" fill="hold" grpId="0" nodeType="withEffect">
                                  <p:stCondLst>
                                    <p:cond delay="650"/>
                                  </p:stCondLst>
                                  <p:childTnLst>
                                    <p:set>
                                      <p:cBhvr>
                                        <p:cTn id="100" dur="1" fill="hold">
                                          <p:stCondLst>
                                            <p:cond delay="0"/>
                                          </p:stCondLst>
                                        </p:cTn>
                                        <p:tgtEl>
                                          <p:spTgt spid="65"/>
                                        </p:tgtEl>
                                        <p:attrNameLst>
                                          <p:attrName>style.visibility</p:attrName>
                                        </p:attrNameLst>
                                      </p:cBhvr>
                                      <p:to>
                                        <p:strVal val="visible"/>
                                      </p:to>
                                    </p:set>
                                    <p:animEffect transition="in" filter="fade">
                                      <p:cBhvr>
                                        <p:cTn id="101" dur="650"/>
                                        <p:tgtEl>
                                          <p:spTgt spid="65"/>
                                        </p:tgtEl>
                                      </p:cBhvr>
                                    </p:animEffect>
                                  </p:childTnLst>
                                </p:cTn>
                              </p:par>
                              <p:par>
                                <p:cTn id="102" presetID="10" presetClass="entr" presetSubtype="0" fill="hold" grpId="0" nodeType="withEffect">
                                  <p:stCondLst>
                                    <p:cond delay="1250"/>
                                  </p:stCondLst>
                                  <p:childTnLst>
                                    <p:set>
                                      <p:cBhvr>
                                        <p:cTn id="103" dur="1" fill="hold">
                                          <p:stCondLst>
                                            <p:cond delay="0"/>
                                          </p:stCondLst>
                                        </p:cTn>
                                        <p:tgtEl>
                                          <p:spTgt spid="154"/>
                                        </p:tgtEl>
                                        <p:attrNameLst>
                                          <p:attrName>style.visibility</p:attrName>
                                        </p:attrNameLst>
                                      </p:cBhvr>
                                      <p:to>
                                        <p:strVal val="visible"/>
                                      </p:to>
                                    </p:set>
                                    <p:animEffect transition="in" filter="fade">
                                      <p:cBhvr>
                                        <p:cTn id="104" dur="500"/>
                                        <p:tgtEl>
                                          <p:spTgt spid="154"/>
                                        </p:tgtEl>
                                      </p:cBhvr>
                                    </p:animEffect>
                                  </p:childTnLst>
                                </p:cTn>
                              </p:par>
                              <p:par>
                                <p:cTn id="105" presetID="10" presetClass="entr" presetSubtype="0" fill="hold" grpId="0" nodeType="withEffect">
                                  <p:stCondLst>
                                    <p:cond delay="1750"/>
                                  </p:stCondLst>
                                  <p:childTnLst>
                                    <p:set>
                                      <p:cBhvr>
                                        <p:cTn id="106" dur="1" fill="hold">
                                          <p:stCondLst>
                                            <p:cond delay="0"/>
                                          </p:stCondLst>
                                        </p:cTn>
                                        <p:tgtEl>
                                          <p:spTgt spid="156"/>
                                        </p:tgtEl>
                                        <p:attrNameLst>
                                          <p:attrName>style.visibility</p:attrName>
                                        </p:attrNameLst>
                                      </p:cBhvr>
                                      <p:to>
                                        <p:strVal val="visible"/>
                                      </p:to>
                                    </p:set>
                                    <p:animEffect transition="in" filter="fade">
                                      <p:cBhvr>
                                        <p:cTn id="107" dur="750"/>
                                        <p:tgtEl>
                                          <p:spTgt spid="156"/>
                                        </p:tgtEl>
                                      </p:cBhvr>
                                    </p:animEffect>
                                  </p:childTnLst>
                                </p:cTn>
                              </p:par>
                              <p:par>
                                <p:cTn id="108" presetID="10" presetClass="entr" presetSubtype="0" fill="hold" grpId="0" nodeType="withEffect">
                                  <p:stCondLst>
                                    <p:cond delay="2000"/>
                                  </p:stCondLst>
                                  <p:childTnLst>
                                    <p:set>
                                      <p:cBhvr>
                                        <p:cTn id="109" dur="1" fill="hold">
                                          <p:stCondLst>
                                            <p:cond delay="0"/>
                                          </p:stCondLst>
                                        </p:cTn>
                                        <p:tgtEl>
                                          <p:spTgt spid="160"/>
                                        </p:tgtEl>
                                        <p:attrNameLst>
                                          <p:attrName>style.visibility</p:attrName>
                                        </p:attrNameLst>
                                      </p:cBhvr>
                                      <p:to>
                                        <p:strVal val="visible"/>
                                      </p:to>
                                    </p:set>
                                    <p:animEffect transition="in" filter="fade">
                                      <p:cBhvr>
                                        <p:cTn id="110" dur="750"/>
                                        <p:tgtEl>
                                          <p:spTgt spid="160"/>
                                        </p:tgtEl>
                                      </p:cBhvr>
                                    </p:animEffect>
                                  </p:childTnLst>
                                </p:cTn>
                              </p:par>
                              <p:par>
                                <p:cTn id="111" presetID="10" presetClass="entr" presetSubtype="0" fill="hold" grpId="0" nodeType="withEffect">
                                  <p:stCondLst>
                                    <p:cond delay="1000"/>
                                  </p:stCondLst>
                                  <p:childTnLst>
                                    <p:set>
                                      <p:cBhvr>
                                        <p:cTn id="112" dur="1" fill="hold">
                                          <p:stCondLst>
                                            <p:cond delay="0"/>
                                          </p:stCondLst>
                                        </p:cTn>
                                        <p:tgtEl>
                                          <p:spTgt spid="161"/>
                                        </p:tgtEl>
                                        <p:attrNameLst>
                                          <p:attrName>style.visibility</p:attrName>
                                        </p:attrNameLst>
                                      </p:cBhvr>
                                      <p:to>
                                        <p:strVal val="visible"/>
                                      </p:to>
                                    </p:set>
                                    <p:animEffect transition="in" filter="fade">
                                      <p:cBhvr>
                                        <p:cTn id="113" dur="500"/>
                                        <p:tgtEl>
                                          <p:spTgt spid="161"/>
                                        </p:tgtEl>
                                      </p:cBhvr>
                                    </p:animEffect>
                                  </p:childTnLst>
                                </p:cTn>
                              </p:par>
                              <p:par>
                                <p:cTn id="114" presetID="10" presetClass="entr" presetSubtype="0" fill="hold" grpId="0" nodeType="withEffect">
                                  <p:stCondLst>
                                    <p:cond delay="1300"/>
                                  </p:stCondLst>
                                  <p:childTnLst>
                                    <p:set>
                                      <p:cBhvr>
                                        <p:cTn id="115" dur="1" fill="hold">
                                          <p:stCondLst>
                                            <p:cond delay="0"/>
                                          </p:stCondLst>
                                        </p:cTn>
                                        <p:tgtEl>
                                          <p:spTgt spid="162"/>
                                        </p:tgtEl>
                                        <p:attrNameLst>
                                          <p:attrName>style.visibility</p:attrName>
                                        </p:attrNameLst>
                                      </p:cBhvr>
                                      <p:to>
                                        <p:strVal val="visible"/>
                                      </p:to>
                                    </p:set>
                                    <p:animEffect transition="in" filter="fade">
                                      <p:cBhvr>
                                        <p:cTn id="116" dur="650"/>
                                        <p:tgtEl>
                                          <p:spTgt spid="162"/>
                                        </p:tgtEl>
                                      </p:cBhvr>
                                    </p:animEffect>
                                  </p:childTnLst>
                                </p:cTn>
                              </p:par>
                              <p:par>
                                <p:cTn id="117" presetID="10" presetClass="entr" presetSubtype="0" fill="hold" grpId="0" nodeType="withEffect">
                                  <p:stCondLst>
                                    <p:cond delay="2500"/>
                                  </p:stCondLst>
                                  <p:childTnLst>
                                    <p:set>
                                      <p:cBhvr>
                                        <p:cTn id="118" dur="1" fill="hold">
                                          <p:stCondLst>
                                            <p:cond delay="0"/>
                                          </p:stCondLst>
                                        </p:cTn>
                                        <p:tgtEl>
                                          <p:spTgt spid="178"/>
                                        </p:tgtEl>
                                        <p:attrNameLst>
                                          <p:attrName>style.visibility</p:attrName>
                                        </p:attrNameLst>
                                      </p:cBhvr>
                                      <p:to>
                                        <p:strVal val="visible"/>
                                      </p:to>
                                    </p:set>
                                    <p:animEffect transition="in" filter="fade">
                                      <p:cBhvr>
                                        <p:cTn id="119" dur="750"/>
                                        <p:tgtEl>
                                          <p:spTgt spid="178"/>
                                        </p:tgtEl>
                                      </p:cBhvr>
                                    </p:animEffect>
                                  </p:childTnLst>
                                </p:cTn>
                              </p:par>
                              <p:par>
                                <p:cTn id="120" presetID="10" presetClass="entr" presetSubtype="0" fill="hold" grpId="0" nodeType="withEffect">
                                  <p:stCondLst>
                                    <p:cond delay="2750"/>
                                  </p:stCondLst>
                                  <p:childTnLst>
                                    <p:set>
                                      <p:cBhvr>
                                        <p:cTn id="121" dur="1" fill="hold">
                                          <p:stCondLst>
                                            <p:cond delay="0"/>
                                          </p:stCondLst>
                                        </p:cTn>
                                        <p:tgtEl>
                                          <p:spTgt spid="182"/>
                                        </p:tgtEl>
                                        <p:attrNameLst>
                                          <p:attrName>style.visibility</p:attrName>
                                        </p:attrNameLst>
                                      </p:cBhvr>
                                      <p:to>
                                        <p:strVal val="visible"/>
                                      </p:to>
                                    </p:set>
                                    <p:animEffect transition="in" filter="fade">
                                      <p:cBhvr>
                                        <p:cTn id="122" dur="750"/>
                                        <p:tgtEl>
                                          <p:spTgt spid="182"/>
                                        </p:tgtEl>
                                      </p:cBhvr>
                                    </p:animEffect>
                                  </p:childTnLst>
                                </p:cTn>
                              </p:par>
                              <p:par>
                                <p:cTn id="123" presetID="10" presetClass="entr" presetSubtype="0" fill="hold" grpId="0" nodeType="withEffect">
                                  <p:stCondLst>
                                    <p:cond delay="1500"/>
                                  </p:stCondLst>
                                  <p:childTnLst>
                                    <p:set>
                                      <p:cBhvr>
                                        <p:cTn id="124" dur="1" fill="hold">
                                          <p:stCondLst>
                                            <p:cond delay="0"/>
                                          </p:stCondLst>
                                        </p:cTn>
                                        <p:tgtEl>
                                          <p:spTgt spid="183"/>
                                        </p:tgtEl>
                                        <p:attrNameLst>
                                          <p:attrName>style.visibility</p:attrName>
                                        </p:attrNameLst>
                                      </p:cBhvr>
                                      <p:to>
                                        <p:strVal val="visible"/>
                                      </p:to>
                                    </p:set>
                                    <p:animEffect transition="in" filter="fade">
                                      <p:cBhvr>
                                        <p:cTn id="125" dur="500"/>
                                        <p:tgtEl>
                                          <p:spTgt spid="183"/>
                                        </p:tgtEl>
                                      </p:cBhvr>
                                    </p:animEffect>
                                  </p:childTnLst>
                                </p:cTn>
                              </p:par>
                              <p:par>
                                <p:cTn id="126" presetID="10" presetClass="entr" presetSubtype="0" fill="hold" grpId="0" nodeType="withEffect">
                                  <p:stCondLst>
                                    <p:cond delay="1950"/>
                                  </p:stCondLst>
                                  <p:childTnLst>
                                    <p:set>
                                      <p:cBhvr>
                                        <p:cTn id="127" dur="1" fill="hold">
                                          <p:stCondLst>
                                            <p:cond delay="0"/>
                                          </p:stCondLst>
                                        </p:cTn>
                                        <p:tgtEl>
                                          <p:spTgt spid="184"/>
                                        </p:tgtEl>
                                        <p:attrNameLst>
                                          <p:attrName>style.visibility</p:attrName>
                                        </p:attrNameLst>
                                      </p:cBhvr>
                                      <p:to>
                                        <p:strVal val="visible"/>
                                      </p:to>
                                    </p:set>
                                    <p:animEffect transition="in" filter="fade">
                                      <p:cBhvr>
                                        <p:cTn id="128" dur="650"/>
                                        <p:tgtEl>
                                          <p:spTgt spid="184"/>
                                        </p:tgtEl>
                                      </p:cBhvr>
                                    </p:animEffect>
                                  </p:childTnLst>
                                </p:cTn>
                              </p:par>
                              <p:par>
                                <p:cTn id="129" presetID="10" presetClass="entr" presetSubtype="0" fill="hold" grpId="0" nodeType="withEffect">
                                  <p:stCondLst>
                                    <p:cond delay="3500"/>
                                  </p:stCondLst>
                                  <p:childTnLst>
                                    <p:set>
                                      <p:cBhvr>
                                        <p:cTn id="130" dur="1" fill="hold">
                                          <p:stCondLst>
                                            <p:cond delay="0"/>
                                          </p:stCondLst>
                                        </p:cTn>
                                        <p:tgtEl>
                                          <p:spTgt spid="195"/>
                                        </p:tgtEl>
                                        <p:attrNameLst>
                                          <p:attrName>style.visibility</p:attrName>
                                        </p:attrNameLst>
                                      </p:cBhvr>
                                      <p:to>
                                        <p:strVal val="visible"/>
                                      </p:to>
                                    </p:set>
                                    <p:animEffect transition="in" filter="fade">
                                      <p:cBhvr>
                                        <p:cTn id="131" dur="750"/>
                                        <p:tgtEl>
                                          <p:spTgt spid="195"/>
                                        </p:tgtEl>
                                      </p:cBhvr>
                                    </p:animEffect>
                                  </p:childTnLst>
                                </p:cTn>
                              </p:par>
                            </p:childTnLst>
                          </p:cTn>
                        </p:par>
                        <p:par>
                          <p:cTn id="132" fill="hold">
                            <p:stCondLst>
                              <p:cond delay="4250"/>
                            </p:stCondLst>
                            <p:childTnLst>
                              <p:par>
                                <p:cTn id="133" presetID="10" presetClass="entr" presetSubtype="0" fill="hold" grpId="0" nodeType="afterEffect">
                                  <p:stCondLst>
                                    <p:cond delay="500"/>
                                  </p:stCondLst>
                                  <p:childTnLst>
                                    <p:set>
                                      <p:cBhvr>
                                        <p:cTn id="134" dur="1" fill="hold">
                                          <p:stCondLst>
                                            <p:cond delay="0"/>
                                          </p:stCondLst>
                                        </p:cTn>
                                        <p:tgtEl>
                                          <p:spTgt spid="197"/>
                                        </p:tgtEl>
                                        <p:attrNameLst>
                                          <p:attrName>style.visibility</p:attrName>
                                        </p:attrNameLst>
                                      </p:cBhvr>
                                      <p:to>
                                        <p:strVal val="visible"/>
                                      </p:to>
                                    </p:set>
                                    <p:animEffect transition="in" filter="fade">
                                      <p:cBhvr>
                                        <p:cTn id="135" dur="500"/>
                                        <p:tgtEl>
                                          <p:spTgt spid="197"/>
                                        </p:tgtEl>
                                      </p:cBhvr>
                                    </p:animEffect>
                                  </p:childTnLst>
                                </p:cTn>
                              </p:par>
                              <p:par>
                                <p:cTn id="136" presetID="1" presetClass="emph" presetSubtype="2" fill="hold" nodeType="withEffect">
                                  <p:stCondLst>
                                    <p:cond delay="500"/>
                                  </p:stCondLst>
                                  <p:childTnLst>
                                    <p:animClr clrSpc="rgb" dir="cw">
                                      <p:cBhvr>
                                        <p:cTn id="137" dur="500" fill="hold"/>
                                        <p:tgtEl>
                                          <p:spTgt spid="195"/>
                                        </p:tgtEl>
                                        <p:attrNameLst>
                                          <p:attrName>fillcolor</p:attrName>
                                        </p:attrNameLst>
                                      </p:cBhvr>
                                      <p:to>
                                        <a:srgbClr val="50E6FF"/>
                                      </p:to>
                                    </p:animClr>
                                    <p:set>
                                      <p:cBhvr>
                                        <p:cTn id="138" dur="500" fill="hold"/>
                                        <p:tgtEl>
                                          <p:spTgt spid="195"/>
                                        </p:tgtEl>
                                        <p:attrNameLst>
                                          <p:attrName>fill.type</p:attrName>
                                        </p:attrNameLst>
                                      </p:cBhvr>
                                      <p:to>
                                        <p:strVal val="solid"/>
                                      </p:to>
                                    </p:set>
                                    <p:set>
                                      <p:cBhvr>
                                        <p:cTn id="139" dur="500" fill="hold"/>
                                        <p:tgtEl>
                                          <p:spTgt spid="195"/>
                                        </p:tgtEl>
                                        <p:attrNameLst>
                                          <p:attrName>fill.on</p:attrName>
                                        </p:attrNameLst>
                                      </p:cBhvr>
                                      <p:to>
                                        <p:strVal val="true"/>
                                      </p:to>
                                    </p:set>
                                  </p:childTnLst>
                                </p:cTn>
                              </p:par>
                              <p:par>
                                <p:cTn id="140" presetID="3" presetClass="emph" presetSubtype="2" fill="hold" grpId="1" nodeType="withEffect">
                                  <p:stCondLst>
                                    <p:cond delay="500"/>
                                  </p:stCondLst>
                                  <p:childTnLst>
                                    <p:animClr clrSpc="rgb" dir="cw">
                                      <p:cBhvr override="childStyle">
                                        <p:cTn id="141" dur="500" fill="hold"/>
                                        <p:tgtEl>
                                          <p:spTgt spid="195"/>
                                        </p:tgtEl>
                                        <p:attrNameLst>
                                          <p:attrName>style.color</p:attrName>
                                        </p:attrNameLst>
                                      </p:cBhvr>
                                      <p:to>
                                        <a:srgbClr val="000000"/>
                                      </p:to>
                                    </p:animClr>
                                  </p:childTnLst>
                                </p:cTn>
                              </p:par>
                              <p:par>
                                <p:cTn id="142" presetID="63" presetClass="path" presetSubtype="0" accel="50000" decel="50000" fill="hold" grpId="1" nodeType="withEffect">
                                  <p:stCondLst>
                                    <p:cond delay="500"/>
                                  </p:stCondLst>
                                  <p:childTnLst>
                                    <p:animMotion origin="layout" path="M 3.125E-6 -3.7037E-7 L 0.28776 -3.7037E-7 " pathEditMode="relative" rAng="0" ptsTypes="AA">
                                      <p:cBhvr>
                                        <p:cTn id="143" dur="1750" fill="hold"/>
                                        <p:tgtEl>
                                          <p:spTgt spid="197"/>
                                        </p:tgtEl>
                                        <p:attrNameLst>
                                          <p:attrName>ppt_x</p:attrName>
                                          <p:attrName>ppt_y</p:attrName>
                                        </p:attrNameLst>
                                      </p:cBhvr>
                                      <p:rCtr x="14388" y="0"/>
                                    </p:animMotion>
                                  </p:childTnLst>
                                </p:cTn>
                              </p:par>
                              <p:par>
                                <p:cTn id="144" presetID="2" presetClass="entr" presetSubtype="4" decel="50000" fill="hold" grpId="0" nodeType="withEffect">
                                  <p:stCondLst>
                                    <p:cond delay="500"/>
                                  </p:stCondLst>
                                  <p:childTnLst>
                                    <p:set>
                                      <p:cBhvr>
                                        <p:cTn id="145" dur="1" fill="hold">
                                          <p:stCondLst>
                                            <p:cond delay="0"/>
                                          </p:stCondLst>
                                        </p:cTn>
                                        <p:tgtEl>
                                          <p:spTgt spid="19"/>
                                        </p:tgtEl>
                                        <p:attrNameLst>
                                          <p:attrName>style.visibility</p:attrName>
                                        </p:attrNameLst>
                                      </p:cBhvr>
                                      <p:to>
                                        <p:strVal val="visible"/>
                                      </p:to>
                                    </p:set>
                                    <p:anim calcmode="lin" valueType="num">
                                      <p:cBhvr additive="base">
                                        <p:cTn id="146" dur="1750" fill="hold"/>
                                        <p:tgtEl>
                                          <p:spTgt spid="19"/>
                                        </p:tgtEl>
                                        <p:attrNameLst>
                                          <p:attrName>ppt_x</p:attrName>
                                        </p:attrNameLst>
                                      </p:cBhvr>
                                      <p:tavLst>
                                        <p:tav tm="0">
                                          <p:val>
                                            <p:strVal val="#ppt_x"/>
                                          </p:val>
                                        </p:tav>
                                        <p:tav tm="100000">
                                          <p:val>
                                            <p:strVal val="#ppt_x"/>
                                          </p:val>
                                        </p:tav>
                                      </p:tavLst>
                                    </p:anim>
                                    <p:anim calcmode="lin" valueType="num">
                                      <p:cBhvr additive="base">
                                        <p:cTn id="147" dur="1750" fill="hold"/>
                                        <p:tgtEl>
                                          <p:spTgt spid="19"/>
                                        </p:tgtEl>
                                        <p:attrNameLst>
                                          <p:attrName>ppt_y</p:attrName>
                                        </p:attrNameLst>
                                      </p:cBhvr>
                                      <p:tavLst>
                                        <p:tav tm="0">
                                          <p:val>
                                            <p:strVal val="1+#ppt_h/2"/>
                                          </p:val>
                                        </p:tav>
                                        <p:tav tm="100000">
                                          <p:val>
                                            <p:strVal val="#ppt_y"/>
                                          </p:val>
                                        </p:tav>
                                      </p:tavLst>
                                    </p:anim>
                                  </p:childTnLst>
                                </p:cTn>
                              </p:par>
                              <p:par>
                                <p:cTn id="148" presetID="3" presetClass="emph" presetSubtype="2" fill="hold" grpId="2" nodeType="withEffect">
                                  <p:stCondLst>
                                    <p:cond delay="1750"/>
                                  </p:stCondLst>
                                  <p:childTnLst>
                                    <p:animClr clrSpc="rgb" dir="cw">
                                      <p:cBhvr override="childStyle">
                                        <p:cTn id="149" dur="500" fill="hold"/>
                                        <p:tgtEl>
                                          <p:spTgt spid="197"/>
                                        </p:tgtEl>
                                        <p:attrNameLst>
                                          <p:attrName>style.color</p:attrName>
                                        </p:attrNameLst>
                                      </p:cBhvr>
                                      <p:to>
                                        <a:srgbClr val="000000"/>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92" grpId="0" animBg="1"/>
      <p:bldP spid="206" grpId="0" animBg="1"/>
      <p:bldP spid="207" grpId="0" animBg="1"/>
      <p:bldP spid="208" grpId="0" animBg="1"/>
      <p:bldP spid="209" grpId="0" animBg="1"/>
      <p:bldP spid="210" grpId="0" animBg="1"/>
      <p:bldP spid="147" grpId="0"/>
      <p:bldP spid="148" grpId="0"/>
      <p:bldP spid="149" grpId="0"/>
      <p:bldP spid="18" grpId="0" animBg="1"/>
      <p:bldP spid="150" grpId="0"/>
      <p:bldP spid="32" grpId="0" animBg="1"/>
      <p:bldP spid="71" grpId="0" animBg="1"/>
      <p:bldP spid="3" grpId="0" animBg="1"/>
      <p:bldP spid="56" grpId="0" animBg="1"/>
      <p:bldP spid="57" grpId="0" animBg="1"/>
      <p:bldP spid="58" grpId="0" animBg="1"/>
      <p:bldP spid="62" grpId="0" animBg="1"/>
      <p:bldP spid="63" grpId="0" animBg="1"/>
      <p:bldP spid="65" grpId="0" animBg="1"/>
      <p:bldP spid="69" grpId="0" animBg="1"/>
      <p:bldP spid="154" grpId="0" animBg="1"/>
      <p:bldP spid="156" grpId="0" animBg="1"/>
      <p:bldP spid="160" grpId="0" animBg="1"/>
      <p:bldP spid="161" grpId="0" animBg="1"/>
      <p:bldP spid="162" grpId="0" animBg="1"/>
      <p:bldP spid="178" grpId="0" animBg="1"/>
      <p:bldP spid="182" grpId="0" animBg="1"/>
      <p:bldP spid="183" grpId="0" animBg="1"/>
      <p:bldP spid="184" grpId="0" animBg="1"/>
      <p:bldP spid="195" grpId="0" animBg="1"/>
      <p:bldP spid="195" grpId="1" animBg="1"/>
      <p:bldP spid="196" grpId="0" animBg="1"/>
      <p:bldP spid="5" grpId="0"/>
      <p:bldP spid="197" grpId="0"/>
      <p:bldP spid="197" grpId="1"/>
      <p:bldP spid="197" grpId="2"/>
      <p:bldP spid="155" grpId="0" animBg="1"/>
      <p:bldP spid="155" grpId="1" animBg="1"/>
      <p:bldP spid="155" grpId="2" animBg="1"/>
      <p:bldP spid="155" grpId="3"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3F38A2EF-F68F-4817-B61D-DC04A2311FAF}"/>
              </a:ext>
            </a:extLst>
          </p:cNvPr>
          <p:cNvSpPr>
            <a:spLocks noGrp="1"/>
          </p:cNvSpPr>
          <p:nvPr>
            <p:ph type="title"/>
          </p:nvPr>
        </p:nvSpPr>
        <p:spPr>
          <a:xfrm>
            <a:off x="373168" y="432444"/>
            <a:ext cx="9699902" cy="528838"/>
          </a:xfrm>
        </p:spPr>
        <p:txBody>
          <a:bodyPr>
            <a:normAutofit fontScale="90000"/>
          </a:bodyPr>
          <a:lstStyle/>
          <a:p>
            <a:r>
              <a:rPr lang="en-US" b="1"/>
              <a:t>Automated ML</a:t>
            </a:r>
          </a:p>
        </p:txBody>
      </p:sp>
      <p:grpSp>
        <p:nvGrpSpPr>
          <p:cNvPr id="6" name="Group 5">
            <a:extLst>
              <a:ext uri="{FF2B5EF4-FFF2-40B4-BE49-F238E27FC236}">
                <a16:creationId xmlns:a16="http://schemas.microsoft.com/office/drawing/2014/main" id="{A50886F4-1564-4E5B-BBDB-E9CD1BEC44A0}"/>
              </a:ext>
            </a:extLst>
          </p:cNvPr>
          <p:cNvGrpSpPr/>
          <p:nvPr/>
        </p:nvGrpSpPr>
        <p:grpSpPr>
          <a:xfrm>
            <a:off x="808195" y="2841776"/>
            <a:ext cx="1552621" cy="3200708"/>
            <a:chOff x="1253669" y="2956071"/>
            <a:chExt cx="2144851" cy="3200708"/>
          </a:xfrm>
        </p:grpSpPr>
        <p:sp>
          <p:nvSpPr>
            <p:cNvPr id="7" name="Rounded Rectangle 5">
              <a:extLst>
                <a:ext uri="{FF2B5EF4-FFF2-40B4-BE49-F238E27FC236}">
                  <a16:creationId xmlns:a16="http://schemas.microsoft.com/office/drawing/2014/main" id="{1C21A3CB-E6B2-41D6-8DAC-1C514DAB45D5}"/>
                </a:ext>
              </a:extLst>
            </p:cNvPr>
            <p:cNvSpPr/>
            <p:nvPr/>
          </p:nvSpPr>
          <p:spPr>
            <a:xfrm>
              <a:off x="1253669" y="3046599"/>
              <a:ext cx="2144851" cy="3110180"/>
            </a:xfrm>
            <a:custGeom>
              <a:avLst/>
              <a:gdLst>
                <a:gd name="connsiteX0" fmla="*/ 0 w 2144851"/>
                <a:gd name="connsiteY0" fmla="*/ 26403 h 3032580"/>
                <a:gd name="connsiteX1" fmla="*/ 26403 w 2144851"/>
                <a:gd name="connsiteY1" fmla="*/ 0 h 3032580"/>
                <a:gd name="connsiteX2" fmla="*/ 2118448 w 2144851"/>
                <a:gd name="connsiteY2" fmla="*/ 0 h 3032580"/>
                <a:gd name="connsiteX3" fmla="*/ 2144851 w 2144851"/>
                <a:gd name="connsiteY3" fmla="*/ 26403 h 3032580"/>
                <a:gd name="connsiteX4" fmla="*/ 2144851 w 2144851"/>
                <a:gd name="connsiteY4" fmla="*/ 3006177 h 3032580"/>
                <a:gd name="connsiteX5" fmla="*/ 2118448 w 2144851"/>
                <a:gd name="connsiteY5" fmla="*/ 3032580 h 3032580"/>
                <a:gd name="connsiteX6" fmla="*/ 26403 w 2144851"/>
                <a:gd name="connsiteY6" fmla="*/ 3032580 h 3032580"/>
                <a:gd name="connsiteX7" fmla="*/ 0 w 2144851"/>
                <a:gd name="connsiteY7" fmla="*/ 3006177 h 3032580"/>
                <a:gd name="connsiteX8" fmla="*/ 0 w 2144851"/>
                <a:gd name="connsiteY8" fmla="*/ 26403 h 3032580"/>
                <a:gd name="connsiteX0" fmla="*/ 0 w 2144851"/>
                <a:gd name="connsiteY0" fmla="*/ 27984 h 3034161"/>
                <a:gd name="connsiteX1" fmla="*/ 26403 w 2144851"/>
                <a:gd name="connsiteY1" fmla="*/ 1581 h 3034161"/>
                <a:gd name="connsiteX2" fmla="*/ 210889 w 2144851"/>
                <a:gd name="connsiteY2" fmla="*/ 0 h 3034161"/>
                <a:gd name="connsiteX3" fmla="*/ 2118448 w 2144851"/>
                <a:gd name="connsiteY3" fmla="*/ 1581 h 3034161"/>
                <a:gd name="connsiteX4" fmla="*/ 2144851 w 2144851"/>
                <a:gd name="connsiteY4" fmla="*/ 27984 h 3034161"/>
                <a:gd name="connsiteX5" fmla="*/ 2144851 w 2144851"/>
                <a:gd name="connsiteY5" fmla="*/ 3007758 h 3034161"/>
                <a:gd name="connsiteX6" fmla="*/ 2118448 w 2144851"/>
                <a:gd name="connsiteY6" fmla="*/ 3034161 h 3034161"/>
                <a:gd name="connsiteX7" fmla="*/ 26403 w 2144851"/>
                <a:gd name="connsiteY7" fmla="*/ 3034161 h 3034161"/>
                <a:gd name="connsiteX8" fmla="*/ 0 w 2144851"/>
                <a:gd name="connsiteY8" fmla="*/ 3007758 h 3034161"/>
                <a:gd name="connsiteX9" fmla="*/ 0 w 2144851"/>
                <a:gd name="connsiteY9" fmla="*/ 27984 h 3034161"/>
                <a:gd name="connsiteX0" fmla="*/ 0 w 2144851"/>
                <a:gd name="connsiteY0" fmla="*/ 27984 h 3034161"/>
                <a:gd name="connsiteX1" fmla="*/ 26403 w 2144851"/>
                <a:gd name="connsiteY1" fmla="*/ 1581 h 3034161"/>
                <a:gd name="connsiteX2" fmla="*/ 210889 w 2144851"/>
                <a:gd name="connsiteY2" fmla="*/ 0 h 3034161"/>
                <a:gd name="connsiteX3" fmla="*/ 256419 w 2144851"/>
                <a:gd name="connsiteY3" fmla="*/ 1 h 3034161"/>
                <a:gd name="connsiteX4" fmla="*/ 2118448 w 2144851"/>
                <a:gd name="connsiteY4" fmla="*/ 1581 h 3034161"/>
                <a:gd name="connsiteX5" fmla="*/ 2144851 w 2144851"/>
                <a:gd name="connsiteY5" fmla="*/ 27984 h 3034161"/>
                <a:gd name="connsiteX6" fmla="*/ 2144851 w 2144851"/>
                <a:gd name="connsiteY6" fmla="*/ 3007758 h 3034161"/>
                <a:gd name="connsiteX7" fmla="*/ 2118448 w 2144851"/>
                <a:gd name="connsiteY7" fmla="*/ 3034161 h 3034161"/>
                <a:gd name="connsiteX8" fmla="*/ 26403 w 2144851"/>
                <a:gd name="connsiteY8" fmla="*/ 3034161 h 3034161"/>
                <a:gd name="connsiteX9" fmla="*/ 0 w 2144851"/>
                <a:gd name="connsiteY9" fmla="*/ 3007758 h 3034161"/>
                <a:gd name="connsiteX10" fmla="*/ 0 w 2144851"/>
                <a:gd name="connsiteY10" fmla="*/ 27984 h 3034161"/>
                <a:gd name="connsiteX0" fmla="*/ 0 w 2144851"/>
                <a:gd name="connsiteY0" fmla="*/ 27984 h 3034161"/>
                <a:gd name="connsiteX1" fmla="*/ 26403 w 2144851"/>
                <a:gd name="connsiteY1" fmla="*/ 1581 h 3034161"/>
                <a:gd name="connsiteX2" fmla="*/ 210889 w 2144851"/>
                <a:gd name="connsiteY2" fmla="*/ 0 h 3034161"/>
                <a:gd name="connsiteX3" fmla="*/ 256419 w 2144851"/>
                <a:gd name="connsiteY3" fmla="*/ 1 h 3034161"/>
                <a:gd name="connsiteX4" fmla="*/ 298155 w 2144851"/>
                <a:gd name="connsiteY4" fmla="*/ 1 h 3034161"/>
                <a:gd name="connsiteX5" fmla="*/ 2118448 w 2144851"/>
                <a:gd name="connsiteY5" fmla="*/ 1581 h 3034161"/>
                <a:gd name="connsiteX6" fmla="*/ 2144851 w 2144851"/>
                <a:gd name="connsiteY6" fmla="*/ 27984 h 3034161"/>
                <a:gd name="connsiteX7" fmla="*/ 2144851 w 2144851"/>
                <a:gd name="connsiteY7" fmla="*/ 3007758 h 3034161"/>
                <a:gd name="connsiteX8" fmla="*/ 2118448 w 2144851"/>
                <a:gd name="connsiteY8" fmla="*/ 3034161 h 3034161"/>
                <a:gd name="connsiteX9" fmla="*/ 26403 w 2144851"/>
                <a:gd name="connsiteY9" fmla="*/ 3034161 h 3034161"/>
                <a:gd name="connsiteX10" fmla="*/ 0 w 2144851"/>
                <a:gd name="connsiteY10" fmla="*/ 3007758 h 3034161"/>
                <a:gd name="connsiteX11" fmla="*/ 0 w 2144851"/>
                <a:gd name="connsiteY11" fmla="*/ 27984 h 3034161"/>
                <a:gd name="connsiteX0" fmla="*/ 0 w 2144851"/>
                <a:gd name="connsiteY0" fmla="*/ 81102 h 3087279"/>
                <a:gd name="connsiteX1" fmla="*/ 26403 w 2144851"/>
                <a:gd name="connsiteY1" fmla="*/ 54699 h 3087279"/>
                <a:gd name="connsiteX2" fmla="*/ 210889 w 2144851"/>
                <a:gd name="connsiteY2" fmla="*/ 53118 h 3087279"/>
                <a:gd name="connsiteX3" fmla="*/ 256419 w 2144851"/>
                <a:gd name="connsiteY3" fmla="*/ 0 h 3087279"/>
                <a:gd name="connsiteX4" fmla="*/ 298155 w 2144851"/>
                <a:gd name="connsiteY4" fmla="*/ 53119 h 3087279"/>
                <a:gd name="connsiteX5" fmla="*/ 2118448 w 2144851"/>
                <a:gd name="connsiteY5" fmla="*/ 54699 h 3087279"/>
                <a:gd name="connsiteX6" fmla="*/ 2144851 w 2144851"/>
                <a:gd name="connsiteY6" fmla="*/ 81102 h 3087279"/>
                <a:gd name="connsiteX7" fmla="*/ 2144851 w 2144851"/>
                <a:gd name="connsiteY7" fmla="*/ 3060876 h 3087279"/>
                <a:gd name="connsiteX8" fmla="*/ 2118448 w 2144851"/>
                <a:gd name="connsiteY8" fmla="*/ 3087279 h 3087279"/>
                <a:gd name="connsiteX9" fmla="*/ 26403 w 2144851"/>
                <a:gd name="connsiteY9" fmla="*/ 3087279 h 3087279"/>
                <a:gd name="connsiteX10" fmla="*/ 0 w 2144851"/>
                <a:gd name="connsiteY10" fmla="*/ 3060876 h 3087279"/>
                <a:gd name="connsiteX11" fmla="*/ 0 w 2144851"/>
                <a:gd name="connsiteY11" fmla="*/ 81102 h 3087279"/>
                <a:gd name="connsiteX0" fmla="*/ 0 w 2144851"/>
                <a:gd name="connsiteY0" fmla="*/ 81102 h 3087279"/>
                <a:gd name="connsiteX1" fmla="*/ 26403 w 2144851"/>
                <a:gd name="connsiteY1" fmla="*/ 54699 h 3087279"/>
                <a:gd name="connsiteX2" fmla="*/ 210889 w 2144851"/>
                <a:gd name="connsiteY2" fmla="*/ 53118 h 3087279"/>
                <a:gd name="connsiteX3" fmla="*/ 256419 w 2144851"/>
                <a:gd name="connsiteY3" fmla="*/ 0 h 3087279"/>
                <a:gd name="connsiteX4" fmla="*/ 358862 w 2144851"/>
                <a:gd name="connsiteY4" fmla="*/ 53119 h 3087279"/>
                <a:gd name="connsiteX5" fmla="*/ 2118448 w 2144851"/>
                <a:gd name="connsiteY5" fmla="*/ 54699 h 3087279"/>
                <a:gd name="connsiteX6" fmla="*/ 2144851 w 2144851"/>
                <a:gd name="connsiteY6" fmla="*/ 81102 h 3087279"/>
                <a:gd name="connsiteX7" fmla="*/ 2144851 w 2144851"/>
                <a:gd name="connsiteY7" fmla="*/ 3060876 h 3087279"/>
                <a:gd name="connsiteX8" fmla="*/ 2118448 w 2144851"/>
                <a:gd name="connsiteY8" fmla="*/ 3087279 h 3087279"/>
                <a:gd name="connsiteX9" fmla="*/ 26403 w 2144851"/>
                <a:gd name="connsiteY9" fmla="*/ 3087279 h 3087279"/>
                <a:gd name="connsiteX10" fmla="*/ 0 w 2144851"/>
                <a:gd name="connsiteY10" fmla="*/ 3060876 h 3087279"/>
                <a:gd name="connsiteX11" fmla="*/ 0 w 2144851"/>
                <a:gd name="connsiteY11" fmla="*/ 81102 h 3087279"/>
                <a:gd name="connsiteX0" fmla="*/ 0 w 2144851"/>
                <a:gd name="connsiteY0" fmla="*/ 111455 h 3117632"/>
                <a:gd name="connsiteX1" fmla="*/ 26403 w 2144851"/>
                <a:gd name="connsiteY1" fmla="*/ 85052 h 3117632"/>
                <a:gd name="connsiteX2" fmla="*/ 210889 w 2144851"/>
                <a:gd name="connsiteY2" fmla="*/ 83471 h 3117632"/>
                <a:gd name="connsiteX3" fmla="*/ 301949 w 2144851"/>
                <a:gd name="connsiteY3" fmla="*/ 0 h 3117632"/>
                <a:gd name="connsiteX4" fmla="*/ 358862 w 2144851"/>
                <a:gd name="connsiteY4" fmla="*/ 83472 h 3117632"/>
                <a:gd name="connsiteX5" fmla="*/ 2118448 w 2144851"/>
                <a:gd name="connsiteY5" fmla="*/ 85052 h 3117632"/>
                <a:gd name="connsiteX6" fmla="*/ 2144851 w 2144851"/>
                <a:gd name="connsiteY6" fmla="*/ 111455 h 3117632"/>
                <a:gd name="connsiteX7" fmla="*/ 2144851 w 2144851"/>
                <a:gd name="connsiteY7" fmla="*/ 3091229 h 3117632"/>
                <a:gd name="connsiteX8" fmla="*/ 2118448 w 2144851"/>
                <a:gd name="connsiteY8" fmla="*/ 3117632 h 3117632"/>
                <a:gd name="connsiteX9" fmla="*/ 26403 w 2144851"/>
                <a:gd name="connsiteY9" fmla="*/ 3117632 h 3117632"/>
                <a:gd name="connsiteX10" fmla="*/ 0 w 2144851"/>
                <a:gd name="connsiteY10" fmla="*/ 3091229 h 3117632"/>
                <a:gd name="connsiteX11" fmla="*/ 0 w 2144851"/>
                <a:gd name="connsiteY11" fmla="*/ 111455 h 3117632"/>
                <a:gd name="connsiteX0" fmla="*/ 0 w 2144851"/>
                <a:gd name="connsiteY0" fmla="*/ 122838 h 3129015"/>
                <a:gd name="connsiteX1" fmla="*/ 26403 w 2144851"/>
                <a:gd name="connsiteY1" fmla="*/ 96435 h 3129015"/>
                <a:gd name="connsiteX2" fmla="*/ 210889 w 2144851"/>
                <a:gd name="connsiteY2" fmla="*/ 94854 h 3129015"/>
                <a:gd name="connsiteX3" fmla="*/ 286772 w 2144851"/>
                <a:gd name="connsiteY3" fmla="*/ 0 h 3129015"/>
                <a:gd name="connsiteX4" fmla="*/ 358862 w 2144851"/>
                <a:gd name="connsiteY4" fmla="*/ 94855 h 3129015"/>
                <a:gd name="connsiteX5" fmla="*/ 2118448 w 2144851"/>
                <a:gd name="connsiteY5" fmla="*/ 96435 h 3129015"/>
                <a:gd name="connsiteX6" fmla="*/ 2144851 w 2144851"/>
                <a:gd name="connsiteY6" fmla="*/ 122838 h 3129015"/>
                <a:gd name="connsiteX7" fmla="*/ 2144851 w 2144851"/>
                <a:gd name="connsiteY7" fmla="*/ 3102612 h 3129015"/>
                <a:gd name="connsiteX8" fmla="*/ 2118448 w 2144851"/>
                <a:gd name="connsiteY8" fmla="*/ 3129015 h 3129015"/>
                <a:gd name="connsiteX9" fmla="*/ 26403 w 2144851"/>
                <a:gd name="connsiteY9" fmla="*/ 3129015 h 3129015"/>
                <a:gd name="connsiteX10" fmla="*/ 0 w 2144851"/>
                <a:gd name="connsiteY10" fmla="*/ 3102612 h 3129015"/>
                <a:gd name="connsiteX11" fmla="*/ 0 w 2144851"/>
                <a:gd name="connsiteY11" fmla="*/ 122838 h 3129015"/>
                <a:gd name="connsiteX0" fmla="*/ 0 w 2144851"/>
                <a:gd name="connsiteY0" fmla="*/ 107661 h 3113838"/>
                <a:gd name="connsiteX1" fmla="*/ 26403 w 2144851"/>
                <a:gd name="connsiteY1" fmla="*/ 81258 h 3113838"/>
                <a:gd name="connsiteX2" fmla="*/ 210889 w 2144851"/>
                <a:gd name="connsiteY2" fmla="*/ 79677 h 3113838"/>
                <a:gd name="connsiteX3" fmla="*/ 286772 w 2144851"/>
                <a:gd name="connsiteY3" fmla="*/ 0 h 3113838"/>
                <a:gd name="connsiteX4" fmla="*/ 358862 w 2144851"/>
                <a:gd name="connsiteY4" fmla="*/ 79678 h 3113838"/>
                <a:gd name="connsiteX5" fmla="*/ 2118448 w 2144851"/>
                <a:gd name="connsiteY5" fmla="*/ 81258 h 3113838"/>
                <a:gd name="connsiteX6" fmla="*/ 2144851 w 2144851"/>
                <a:gd name="connsiteY6" fmla="*/ 107661 h 3113838"/>
                <a:gd name="connsiteX7" fmla="*/ 2144851 w 2144851"/>
                <a:gd name="connsiteY7" fmla="*/ 3087435 h 3113838"/>
                <a:gd name="connsiteX8" fmla="*/ 2118448 w 2144851"/>
                <a:gd name="connsiteY8" fmla="*/ 3113838 h 3113838"/>
                <a:gd name="connsiteX9" fmla="*/ 26403 w 2144851"/>
                <a:gd name="connsiteY9" fmla="*/ 3113838 h 3113838"/>
                <a:gd name="connsiteX10" fmla="*/ 0 w 2144851"/>
                <a:gd name="connsiteY10" fmla="*/ 3087435 h 3113838"/>
                <a:gd name="connsiteX11" fmla="*/ 0 w 2144851"/>
                <a:gd name="connsiteY11" fmla="*/ 107661 h 3113838"/>
                <a:gd name="connsiteX0" fmla="*/ 0 w 2144851"/>
                <a:gd name="connsiteY0" fmla="*/ 107661 h 3113838"/>
                <a:gd name="connsiteX1" fmla="*/ 26403 w 2144851"/>
                <a:gd name="connsiteY1" fmla="*/ 81258 h 3113838"/>
                <a:gd name="connsiteX2" fmla="*/ 210889 w 2144851"/>
                <a:gd name="connsiteY2" fmla="*/ 79677 h 3113838"/>
                <a:gd name="connsiteX3" fmla="*/ 286772 w 2144851"/>
                <a:gd name="connsiteY3" fmla="*/ 0 h 3113838"/>
                <a:gd name="connsiteX4" fmla="*/ 388123 w 2144851"/>
                <a:gd name="connsiteY4" fmla="*/ 79678 h 3113838"/>
                <a:gd name="connsiteX5" fmla="*/ 2118448 w 2144851"/>
                <a:gd name="connsiteY5" fmla="*/ 81258 h 3113838"/>
                <a:gd name="connsiteX6" fmla="*/ 2144851 w 2144851"/>
                <a:gd name="connsiteY6" fmla="*/ 107661 h 3113838"/>
                <a:gd name="connsiteX7" fmla="*/ 2144851 w 2144851"/>
                <a:gd name="connsiteY7" fmla="*/ 3087435 h 3113838"/>
                <a:gd name="connsiteX8" fmla="*/ 2118448 w 2144851"/>
                <a:gd name="connsiteY8" fmla="*/ 3113838 h 3113838"/>
                <a:gd name="connsiteX9" fmla="*/ 26403 w 2144851"/>
                <a:gd name="connsiteY9" fmla="*/ 3113838 h 3113838"/>
                <a:gd name="connsiteX10" fmla="*/ 0 w 2144851"/>
                <a:gd name="connsiteY10" fmla="*/ 3087435 h 3113838"/>
                <a:gd name="connsiteX11" fmla="*/ 0 w 2144851"/>
                <a:gd name="connsiteY11" fmla="*/ 107661 h 3113838"/>
                <a:gd name="connsiteX0" fmla="*/ 0 w 2144851"/>
                <a:gd name="connsiteY0" fmla="*/ 104003 h 3110180"/>
                <a:gd name="connsiteX1" fmla="*/ 26403 w 2144851"/>
                <a:gd name="connsiteY1" fmla="*/ 77600 h 3110180"/>
                <a:gd name="connsiteX2" fmla="*/ 210889 w 2144851"/>
                <a:gd name="connsiteY2" fmla="*/ 76019 h 3110180"/>
                <a:gd name="connsiteX3" fmla="*/ 301402 w 2144851"/>
                <a:gd name="connsiteY3" fmla="*/ 0 h 3110180"/>
                <a:gd name="connsiteX4" fmla="*/ 388123 w 2144851"/>
                <a:gd name="connsiteY4" fmla="*/ 76020 h 3110180"/>
                <a:gd name="connsiteX5" fmla="*/ 2118448 w 2144851"/>
                <a:gd name="connsiteY5" fmla="*/ 77600 h 3110180"/>
                <a:gd name="connsiteX6" fmla="*/ 2144851 w 2144851"/>
                <a:gd name="connsiteY6" fmla="*/ 104003 h 3110180"/>
                <a:gd name="connsiteX7" fmla="*/ 2144851 w 2144851"/>
                <a:gd name="connsiteY7" fmla="*/ 3083777 h 3110180"/>
                <a:gd name="connsiteX8" fmla="*/ 2118448 w 2144851"/>
                <a:gd name="connsiteY8" fmla="*/ 3110180 h 3110180"/>
                <a:gd name="connsiteX9" fmla="*/ 26403 w 2144851"/>
                <a:gd name="connsiteY9" fmla="*/ 3110180 h 3110180"/>
                <a:gd name="connsiteX10" fmla="*/ 0 w 2144851"/>
                <a:gd name="connsiteY10" fmla="*/ 3083777 h 3110180"/>
                <a:gd name="connsiteX11" fmla="*/ 0 w 2144851"/>
                <a:gd name="connsiteY11" fmla="*/ 104003 h 3110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44851" h="3110180">
                  <a:moveTo>
                    <a:pt x="0" y="104003"/>
                  </a:moveTo>
                  <a:cubicBezTo>
                    <a:pt x="0" y="89421"/>
                    <a:pt x="11821" y="77600"/>
                    <a:pt x="26403" y="77600"/>
                  </a:cubicBezTo>
                  <a:lnTo>
                    <a:pt x="210889" y="76019"/>
                  </a:lnTo>
                  <a:lnTo>
                    <a:pt x="301402" y="0"/>
                  </a:lnTo>
                  <a:lnTo>
                    <a:pt x="388123" y="76020"/>
                  </a:lnTo>
                  <a:lnTo>
                    <a:pt x="2118448" y="77600"/>
                  </a:lnTo>
                  <a:cubicBezTo>
                    <a:pt x="2133030" y="77600"/>
                    <a:pt x="2144851" y="89421"/>
                    <a:pt x="2144851" y="104003"/>
                  </a:cubicBezTo>
                  <a:lnTo>
                    <a:pt x="2144851" y="3083777"/>
                  </a:lnTo>
                  <a:cubicBezTo>
                    <a:pt x="2144851" y="3098359"/>
                    <a:pt x="2133030" y="3110180"/>
                    <a:pt x="2118448" y="3110180"/>
                  </a:cubicBezTo>
                  <a:lnTo>
                    <a:pt x="26403" y="3110180"/>
                  </a:lnTo>
                  <a:cubicBezTo>
                    <a:pt x="11821" y="3110180"/>
                    <a:pt x="0" y="3098359"/>
                    <a:pt x="0" y="3083777"/>
                  </a:cubicBezTo>
                  <a:lnTo>
                    <a:pt x="0" y="104003"/>
                  </a:lnTo>
                  <a:close/>
                </a:path>
              </a:pathLst>
            </a:custGeom>
            <a:solidFill>
              <a:schemeClr val="bg1"/>
            </a:solidFill>
            <a:ln>
              <a:noFill/>
            </a:ln>
            <a:effectLst>
              <a:outerShdw blurRad="38100" dist="127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3">
              <a:extLst>
                <a:ext uri="{FF2B5EF4-FFF2-40B4-BE49-F238E27FC236}">
                  <a16:creationId xmlns:a16="http://schemas.microsoft.com/office/drawing/2014/main" id="{C393F2AE-8688-4F55-87BC-3D3B00063427}"/>
                </a:ext>
              </a:extLst>
            </p:cNvPr>
            <p:cNvSpPr txBox="1">
              <a:spLocks/>
            </p:cNvSpPr>
            <p:nvPr/>
          </p:nvSpPr>
          <p:spPr>
            <a:xfrm>
              <a:off x="1387720" y="3382778"/>
              <a:ext cx="2010800" cy="315146"/>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rPr lang="en-US" sz="1400" b="0">
                  <a:latin typeface="Roboto Medium" charset="0"/>
                  <a:ea typeface="Roboto Medium" charset="0"/>
                  <a:cs typeface="Roboto Medium" charset="0"/>
                </a:rPr>
                <a:t>Data cleaning support</a:t>
              </a:r>
              <a:endParaRPr lang="en-US" sz="700" b="0">
                <a:latin typeface="Roboto Medium" charset="0"/>
                <a:ea typeface="Roboto Medium" charset="0"/>
                <a:cs typeface="Roboto Medium" charset="0"/>
              </a:endParaRPr>
            </a:p>
          </p:txBody>
        </p:sp>
        <p:sp>
          <p:nvSpPr>
            <p:cNvPr id="9" name="Rectangle 8">
              <a:extLst>
                <a:ext uri="{FF2B5EF4-FFF2-40B4-BE49-F238E27FC236}">
                  <a16:creationId xmlns:a16="http://schemas.microsoft.com/office/drawing/2014/main" id="{C490A199-BCAE-441C-A040-23C15FC66BB3}"/>
                </a:ext>
              </a:extLst>
            </p:cNvPr>
            <p:cNvSpPr/>
            <p:nvPr/>
          </p:nvSpPr>
          <p:spPr>
            <a:xfrm>
              <a:off x="1356791" y="2956071"/>
              <a:ext cx="402457" cy="338554"/>
            </a:xfrm>
            <a:prstGeom prst="rect">
              <a:avLst/>
            </a:prstGeom>
          </p:spPr>
          <p:txBody>
            <a:bodyPr wrap="square">
              <a:spAutoFit/>
            </a:bodyPr>
            <a:lstStyle/>
            <a:p>
              <a:pPr algn="ctr"/>
              <a:r>
                <a:rPr lang="en-US" sz="1600" b="1">
                  <a:solidFill>
                    <a:schemeClr val="accent5"/>
                  </a:solidFill>
                  <a:latin typeface="linea-arrows-10" charset="0"/>
                  <a:ea typeface="linea-arrows-10" charset="0"/>
                  <a:cs typeface="linea-arrows-10" charset="0"/>
                  <a:sym typeface="Wingdings" panose="05000000000000000000" pitchFamily="2" charset="2"/>
                </a:rPr>
                <a:t></a:t>
              </a:r>
              <a:endParaRPr lang="en-US" sz="1600" b="1">
                <a:solidFill>
                  <a:schemeClr val="accent5"/>
                </a:solidFill>
              </a:endParaRPr>
            </a:p>
          </p:txBody>
        </p:sp>
      </p:grpSp>
      <p:sp>
        <p:nvSpPr>
          <p:cNvPr id="10" name="Rounded Rectangle 15">
            <a:extLst>
              <a:ext uri="{FF2B5EF4-FFF2-40B4-BE49-F238E27FC236}">
                <a16:creationId xmlns:a16="http://schemas.microsoft.com/office/drawing/2014/main" id="{3F0EAF40-7793-4A6A-AA97-AA14679F9905}"/>
              </a:ext>
            </a:extLst>
          </p:cNvPr>
          <p:cNvSpPr/>
          <p:nvPr/>
        </p:nvSpPr>
        <p:spPr>
          <a:xfrm>
            <a:off x="-277951" y="2183761"/>
            <a:ext cx="12716063" cy="600405"/>
          </a:xfrm>
          <a:prstGeom prst="roundRect">
            <a:avLst>
              <a:gd name="adj" fmla="val 3769"/>
            </a:avLst>
          </a:prstGeom>
          <a:solidFill>
            <a:schemeClr val="bg1"/>
          </a:solidFill>
          <a:ln>
            <a:noFill/>
          </a:ln>
          <a:effectLst>
            <a:outerShdw blurRad="38100" dist="127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 name="Group 10">
            <a:extLst>
              <a:ext uri="{FF2B5EF4-FFF2-40B4-BE49-F238E27FC236}">
                <a16:creationId xmlns:a16="http://schemas.microsoft.com/office/drawing/2014/main" id="{1ECCA4CA-4D6D-47C4-9AE6-38F366BE6127}"/>
              </a:ext>
            </a:extLst>
          </p:cNvPr>
          <p:cNvGrpSpPr/>
          <p:nvPr/>
        </p:nvGrpSpPr>
        <p:grpSpPr>
          <a:xfrm>
            <a:off x="2646355" y="2841776"/>
            <a:ext cx="1552621" cy="3200708"/>
            <a:chOff x="1253669" y="2956071"/>
            <a:chExt cx="2144851" cy="3200708"/>
          </a:xfrm>
        </p:grpSpPr>
        <p:sp>
          <p:nvSpPr>
            <p:cNvPr id="12" name="Rounded Rectangle 5">
              <a:extLst>
                <a:ext uri="{FF2B5EF4-FFF2-40B4-BE49-F238E27FC236}">
                  <a16:creationId xmlns:a16="http://schemas.microsoft.com/office/drawing/2014/main" id="{4A484A17-E978-41C4-B3C8-9C540ACDD4EA}"/>
                </a:ext>
              </a:extLst>
            </p:cNvPr>
            <p:cNvSpPr/>
            <p:nvPr/>
          </p:nvSpPr>
          <p:spPr>
            <a:xfrm>
              <a:off x="1253669" y="3046599"/>
              <a:ext cx="2144851" cy="3110180"/>
            </a:xfrm>
            <a:custGeom>
              <a:avLst/>
              <a:gdLst>
                <a:gd name="connsiteX0" fmla="*/ 0 w 2144851"/>
                <a:gd name="connsiteY0" fmla="*/ 26403 h 3032580"/>
                <a:gd name="connsiteX1" fmla="*/ 26403 w 2144851"/>
                <a:gd name="connsiteY1" fmla="*/ 0 h 3032580"/>
                <a:gd name="connsiteX2" fmla="*/ 2118448 w 2144851"/>
                <a:gd name="connsiteY2" fmla="*/ 0 h 3032580"/>
                <a:gd name="connsiteX3" fmla="*/ 2144851 w 2144851"/>
                <a:gd name="connsiteY3" fmla="*/ 26403 h 3032580"/>
                <a:gd name="connsiteX4" fmla="*/ 2144851 w 2144851"/>
                <a:gd name="connsiteY4" fmla="*/ 3006177 h 3032580"/>
                <a:gd name="connsiteX5" fmla="*/ 2118448 w 2144851"/>
                <a:gd name="connsiteY5" fmla="*/ 3032580 h 3032580"/>
                <a:gd name="connsiteX6" fmla="*/ 26403 w 2144851"/>
                <a:gd name="connsiteY6" fmla="*/ 3032580 h 3032580"/>
                <a:gd name="connsiteX7" fmla="*/ 0 w 2144851"/>
                <a:gd name="connsiteY7" fmla="*/ 3006177 h 3032580"/>
                <a:gd name="connsiteX8" fmla="*/ 0 w 2144851"/>
                <a:gd name="connsiteY8" fmla="*/ 26403 h 3032580"/>
                <a:gd name="connsiteX0" fmla="*/ 0 w 2144851"/>
                <a:gd name="connsiteY0" fmla="*/ 27984 h 3034161"/>
                <a:gd name="connsiteX1" fmla="*/ 26403 w 2144851"/>
                <a:gd name="connsiteY1" fmla="*/ 1581 h 3034161"/>
                <a:gd name="connsiteX2" fmla="*/ 210889 w 2144851"/>
                <a:gd name="connsiteY2" fmla="*/ 0 h 3034161"/>
                <a:gd name="connsiteX3" fmla="*/ 2118448 w 2144851"/>
                <a:gd name="connsiteY3" fmla="*/ 1581 h 3034161"/>
                <a:gd name="connsiteX4" fmla="*/ 2144851 w 2144851"/>
                <a:gd name="connsiteY4" fmla="*/ 27984 h 3034161"/>
                <a:gd name="connsiteX5" fmla="*/ 2144851 w 2144851"/>
                <a:gd name="connsiteY5" fmla="*/ 3007758 h 3034161"/>
                <a:gd name="connsiteX6" fmla="*/ 2118448 w 2144851"/>
                <a:gd name="connsiteY6" fmla="*/ 3034161 h 3034161"/>
                <a:gd name="connsiteX7" fmla="*/ 26403 w 2144851"/>
                <a:gd name="connsiteY7" fmla="*/ 3034161 h 3034161"/>
                <a:gd name="connsiteX8" fmla="*/ 0 w 2144851"/>
                <a:gd name="connsiteY8" fmla="*/ 3007758 h 3034161"/>
                <a:gd name="connsiteX9" fmla="*/ 0 w 2144851"/>
                <a:gd name="connsiteY9" fmla="*/ 27984 h 3034161"/>
                <a:gd name="connsiteX0" fmla="*/ 0 w 2144851"/>
                <a:gd name="connsiteY0" fmla="*/ 27984 h 3034161"/>
                <a:gd name="connsiteX1" fmla="*/ 26403 w 2144851"/>
                <a:gd name="connsiteY1" fmla="*/ 1581 h 3034161"/>
                <a:gd name="connsiteX2" fmla="*/ 210889 w 2144851"/>
                <a:gd name="connsiteY2" fmla="*/ 0 h 3034161"/>
                <a:gd name="connsiteX3" fmla="*/ 256419 w 2144851"/>
                <a:gd name="connsiteY3" fmla="*/ 1 h 3034161"/>
                <a:gd name="connsiteX4" fmla="*/ 2118448 w 2144851"/>
                <a:gd name="connsiteY4" fmla="*/ 1581 h 3034161"/>
                <a:gd name="connsiteX5" fmla="*/ 2144851 w 2144851"/>
                <a:gd name="connsiteY5" fmla="*/ 27984 h 3034161"/>
                <a:gd name="connsiteX6" fmla="*/ 2144851 w 2144851"/>
                <a:gd name="connsiteY6" fmla="*/ 3007758 h 3034161"/>
                <a:gd name="connsiteX7" fmla="*/ 2118448 w 2144851"/>
                <a:gd name="connsiteY7" fmla="*/ 3034161 h 3034161"/>
                <a:gd name="connsiteX8" fmla="*/ 26403 w 2144851"/>
                <a:gd name="connsiteY8" fmla="*/ 3034161 h 3034161"/>
                <a:gd name="connsiteX9" fmla="*/ 0 w 2144851"/>
                <a:gd name="connsiteY9" fmla="*/ 3007758 h 3034161"/>
                <a:gd name="connsiteX10" fmla="*/ 0 w 2144851"/>
                <a:gd name="connsiteY10" fmla="*/ 27984 h 3034161"/>
                <a:gd name="connsiteX0" fmla="*/ 0 w 2144851"/>
                <a:gd name="connsiteY0" fmla="*/ 27984 h 3034161"/>
                <a:gd name="connsiteX1" fmla="*/ 26403 w 2144851"/>
                <a:gd name="connsiteY1" fmla="*/ 1581 h 3034161"/>
                <a:gd name="connsiteX2" fmla="*/ 210889 w 2144851"/>
                <a:gd name="connsiteY2" fmla="*/ 0 h 3034161"/>
                <a:gd name="connsiteX3" fmla="*/ 256419 w 2144851"/>
                <a:gd name="connsiteY3" fmla="*/ 1 h 3034161"/>
                <a:gd name="connsiteX4" fmla="*/ 298155 w 2144851"/>
                <a:gd name="connsiteY4" fmla="*/ 1 h 3034161"/>
                <a:gd name="connsiteX5" fmla="*/ 2118448 w 2144851"/>
                <a:gd name="connsiteY5" fmla="*/ 1581 h 3034161"/>
                <a:gd name="connsiteX6" fmla="*/ 2144851 w 2144851"/>
                <a:gd name="connsiteY6" fmla="*/ 27984 h 3034161"/>
                <a:gd name="connsiteX7" fmla="*/ 2144851 w 2144851"/>
                <a:gd name="connsiteY7" fmla="*/ 3007758 h 3034161"/>
                <a:gd name="connsiteX8" fmla="*/ 2118448 w 2144851"/>
                <a:gd name="connsiteY8" fmla="*/ 3034161 h 3034161"/>
                <a:gd name="connsiteX9" fmla="*/ 26403 w 2144851"/>
                <a:gd name="connsiteY9" fmla="*/ 3034161 h 3034161"/>
                <a:gd name="connsiteX10" fmla="*/ 0 w 2144851"/>
                <a:gd name="connsiteY10" fmla="*/ 3007758 h 3034161"/>
                <a:gd name="connsiteX11" fmla="*/ 0 w 2144851"/>
                <a:gd name="connsiteY11" fmla="*/ 27984 h 3034161"/>
                <a:gd name="connsiteX0" fmla="*/ 0 w 2144851"/>
                <a:gd name="connsiteY0" fmla="*/ 81102 h 3087279"/>
                <a:gd name="connsiteX1" fmla="*/ 26403 w 2144851"/>
                <a:gd name="connsiteY1" fmla="*/ 54699 h 3087279"/>
                <a:gd name="connsiteX2" fmla="*/ 210889 w 2144851"/>
                <a:gd name="connsiteY2" fmla="*/ 53118 h 3087279"/>
                <a:gd name="connsiteX3" fmla="*/ 256419 w 2144851"/>
                <a:gd name="connsiteY3" fmla="*/ 0 h 3087279"/>
                <a:gd name="connsiteX4" fmla="*/ 298155 w 2144851"/>
                <a:gd name="connsiteY4" fmla="*/ 53119 h 3087279"/>
                <a:gd name="connsiteX5" fmla="*/ 2118448 w 2144851"/>
                <a:gd name="connsiteY5" fmla="*/ 54699 h 3087279"/>
                <a:gd name="connsiteX6" fmla="*/ 2144851 w 2144851"/>
                <a:gd name="connsiteY6" fmla="*/ 81102 h 3087279"/>
                <a:gd name="connsiteX7" fmla="*/ 2144851 w 2144851"/>
                <a:gd name="connsiteY7" fmla="*/ 3060876 h 3087279"/>
                <a:gd name="connsiteX8" fmla="*/ 2118448 w 2144851"/>
                <a:gd name="connsiteY8" fmla="*/ 3087279 h 3087279"/>
                <a:gd name="connsiteX9" fmla="*/ 26403 w 2144851"/>
                <a:gd name="connsiteY9" fmla="*/ 3087279 h 3087279"/>
                <a:gd name="connsiteX10" fmla="*/ 0 w 2144851"/>
                <a:gd name="connsiteY10" fmla="*/ 3060876 h 3087279"/>
                <a:gd name="connsiteX11" fmla="*/ 0 w 2144851"/>
                <a:gd name="connsiteY11" fmla="*/ 81102 h 3087279"/>
                <a:gd name="connsiteX0" fmla="*/ 0 w 2144851"/>
                <a:gd name="connsiteY0" fmla="*/ 81102 h 3087279"/>
                <a:gd name="connsiteX1" fmla="*/ 26403 w 2144851"/>
                <a:gd name="connsiteY1" fmla="*/ 54699 h 3087279"/>
                <a:gd name="connsiteX2" fmla="*/ 210889 w 2144851"/>
                <a:gd name="connsiteY2" fmla="*/ 53118 h 3087279"/>
                <a:gd name="connsiteX3" fmla="*/ 256419 w 2144851"/>
                <a:gd name="connsiteY3" fmla="*/ 0 h 3087279"/>
                <a:gd name="connsiteX4" fmla="*/ 358862 w 2144851"/>
                <a:gd name="connsiteY4" fmla="*/ 53119 h 3087279"/>
                <a:gd name="connsiteX5" fmla="*/ 2118448 w 2144851"/>
                <a:gd name="connsiteY5" fmla="*/ 54699 h 3087279"/>
                <a:gd name="connsiteX6" fmla="*/ 2144851 w 2144851"/>
                <a:gd name="connsiteY6" fmla="*/ 81102 h 3087279"/>
                <a:gd name="connsiteX7" fmla="*/ 2144851 w 2144851"/>
                <a:gd name="connsiteY7" fmla="*/ 3060876 h 3087279"/>
                <a:gd name="connsiteX8" fmla="*/ 2118448 w 2144851"/>
                <a:gd name="connsiteY8" fmla="*/ 3087279 h 3087279"/>
                <a:gd name="connsiteX9" fmla="*/ 26403 w 2144851"/>
                <a:gd name="connsiteY9" fmla="*/ 3087279 h 3087279"/>
                <a:gd name="connsiteX10" fmla="*/ 0 w 2144851"/>
                <a:gd name="connsiteY10" fmla="*/ 3060876 h 3087279"/>
                <a:gd name="connsiteX11" fmla="*/ 0 w 2144851"/>
                <a:gd name="connsiteY11" fmla="*/ 81102 h 3087279"/>
                <a:gd name="connsiteX0" fmla="*/ 0 w 2144851"/>
                <a:gd name="connsiteY0" fmla="*/ 111455 h 3117632"/>
                <a:gd name="connsiteX1" fmla="*/ 26403 w 2144851"/>
                <a:gd name="connsiteY1" fmla="*/ 85052 h 3117632"/>
                <a:gd name="connsiteX2" fmla="*/ 210889 w 2144851"/>
                <a:gd name="connsiteY2" fmla="*/ 83471 h 3117632"/>
                <a:gd name="connsiteX3" fmla="*/ 301949 w 2144851"/>
                <a:gd name="connsiteY3" fmla="*/ 0 h 3117632"/>
                <a:gd name="connsiteX4" fmla="*/ 358862 w 2144851"/>
                <a:gd name="connsiteY4" fmla="*/ 83472 h 3117632"/>
                <a:gd name="connsiteX5" fmla="*/ 2118448 w 2144851"/>
                <a:gd name="connsiteY5" fmla="*/ 85052 h 3117632"/>
                <a:gd name="connsiteX6" fmla="*/ 2144851 w 2144851"/>
                <a:gd name="connsiteY6" fmla="*/ 111455 h 3117632"/>
                <a:gd name="connsiteX7" fmla="*/ 2144851 w 2144851"/>
                <a:gd name="connsiteY7" fmla="*/ 3091229 h 3117632"/>
                <a:gd name="connsiteX8" fmla="*/ 2118448 w 2144851"/>
                <a:gd name="connsiteY8" fmla="*/ 3117632 h 3117632"/>
                <a:gd name="connsiteX9" fmla="*/ 26403 w 2144851"/>
                <a:gd name="connsiteY9" fmla="*/ 3117632 h 3117632"/>
                <a:gd name="connsiteX10" fmla="*/ 0 w 2144851"/>
                <a:gd name="connsiteY10" fmla="*/ 3091229 h 3117632"/>
                <a:gd name="connsiteX11" fmla="*/ 0 w 2144851"/>
                <a:gd name="connsiteY11" fmla="*/ 111455 h 3117632"/>
                <a:gd name="connsiteX0" fmla="*/ 0 w 2144851"/>
                <a:gd name="connsiteY0" fmla="*/ 122838 h 3129015"/>
                <a:gd name="connsiteX1" fmla="*/ 26403 w 2144851"/>
                <a:gd name="connsiteY1" fmla="*/ 96435 h 3129015"/>
                <a:gd name="connsiteX2" fmla="*/ 210889 w 2144851"/>
                <a:gd name="connsiteY2" fmla="*/ 94854 h 3129015"/>
                <a:gd name="connsiteX3" fmla="*/ 286772 w 2144851"/>
                <a:gd name="connsiteY3" fmla="*/ 0 h 3129015"/>
                <a:gd name="connsiteX4" fmla="*/ 358862 w 2144851"/>
                <a:gd name="connsiteY4" fmla="*/ 94855 h 3129015"/>
                <a:gd name="connsiteX5" fmla="*/ 2118448 w 2144851"/>
                <a:gd name="connsiteY5" fmla="*/ 96435 h 3129015"/>
                <a:gd name="connsiteX6" fmla="*/ 2144851 w 2144851"/>
                <a:gd name="connsiteY6" fmla="*/ 122838 h 3129015"/>
                <a:gd name="connsiteX7" fmla="*/ 2144851 w 2144851"/>
                <a:gd name="connsiteY7" fmla="*/ 3102612 h 3129015"/>
                <a:gd name="connsiteX8" fmla="*/ 2118448 w 2144851"/>
                <a:gd name="connsiteY8" fmla="*/ 3129015 h 3129015"/>
                <a:gd name="connsiteX9" fmla="*/ 26403 w 2144851"/>
                <a:gd name="connsiteY9" fmla="*/ 3129015 h 3129015"/>
                <a:gd name="connsiteX10" fmla="*/ 0 w 2144851"/>
                <a:gd name="connsiteY10" fmla="*/ 3102612 h 3129015"/>
                <a:gd name="connsiteX11" fmla="*/ 0 w 2144851"/>
                <a:gd name="connsiteY11" fmla="*/ 122838 h 3129015"/>
                <a:gd name="connsiteX0" fmla="*/ 0 w 2144851"/>
                <a:gd name="connsiteY0" fmla="*/ 107661 h 3113838"/>
                <a:gd name="connsiteX1" fmla="*/ 26403 w 2144851"/>
                <a:gd name="connsiteY1" fmla="*/ 81258 h 3113838"/>
                <a:gd name="connsiteX2" fmla="*/ 210889 w 2144851"/>
                <a:gd name="connsiteY2" fmla="*/ 79677 h 3113838"/>
                <a:gd name="connsiteX3" fmla="*/ 286772 w 2144851"/>
                <a:gd name="connsiteY3" fmla="*/ 0 h 3113838"/>
                <a:gd name="connsiteX4" fmla="*/ 358862 w 2144851"/>
                <a:gd name="connsiteY4" fmla="*/ 79678 h 3113838"/>
                <a:gd name="connsiteX5" fmla="*/ 2118448 w 2144851"/>
                <a:gd name="connsiteY5" fmla="*/ 81258 h 3113838"/>
                <a:gd name="connsiteX6" fmla="*/ 2144851 w 2144851"/>
                <a:gd name="connsiteY6" fmla="*/ 107661 h 3113838"/>
                <a:gd name="connsiteX7" fmla="*/ 2144851 w 2144851"/>
                <a:gd name="connsiteY7" fmla="*/ 3087435 h 3113838"/>
                <a:gd name="connsiteX8" fmla="*/ 2118448 w 2144851"/>
                <a:gd name="connsiteY8" fmla="*/ 3113838 h 3113838"/>
                <a:gd name="connsiteX9" fmla="*/ 26403 w 2144851"/>
                <a:gd name="connsiteY9" fmla="*/ 3113838 h 3113838"/>
                <a:gd name="connsiteX10" fmla="*/ 0 w 2144851"/>
                <a:gd name="connsiteY10" fmla="*/ 3087435 h 3113838"/>
                <a:gd name="connsiteX11" fmla="*/ 0 w 2144851"/>
                <a:gd name="connsiteY11" fmla="*/ 107661 h 3113838"/>
                <a:gd name="connsiteX0" fmla="*/ 0 w 2144851"/>
                <a:gd name="connsiteY0" fmla="*/ 107661 h 3113838"/>
                <a:gd name="connsiteX1" fmla="*/ 26403 w 2144851"/>
                <a:gd name="connsiteY1" fmla="*/ 81258 h 3113838"/>
                <a:gd name="connsiteX2" fmla="*/ 210889 w 2144851"/>
                <a:gd name="connsiteY2" fmla="*/ 79677 h 3113838"/>
                <a:gd name="connsiteX3" fmla="*/ 286772 w 2144851"/>
                <a:gd name="connsiteY3" fmla="*/ 0 h 3113838"/>
                <a:gd name="connsiteX4" fmla="*/ 388123 w 2144851"/>
                <a:gd name="connsiteY4" fmla="*/ 79678 h 3113838"/>
                <a:gd name="connsiteX5" fmla="*/ 2118448 w 2144851"/>
                <a:gd name="connsiteY5" fmla="*/ 81258 h 3113838"/>
                <a:gd name="connsiteX6" fmla="*/ 2144851 w 2144851"/>
                <a:gd name="connsiteY6" fmla="*/ 107661 h 3113838"/>
                <a:gd name="connsiteX7" fmla="*/ 2144851 w 2144851"/>
                <a:gd name="connsiteY7" fmla="*/ 3087435 h 3113838"/>
                <a:gd name="connsiteX8" fmla="*/ 2118448 w 2144851"/>
                <a:gd name="connsiteY8" fmla="*/ 3113838 h 3113838"/>
                <a:gd name="connsiteX9" fmla="*/ 26403 w 2144851"/>
                <a:gd name="connsiteY9" fmla="*/ 3113838 h 3113838"/>
                <a:gd name="connsiteX10" fmla="*/ 0 w 2144851"/>
                <a:gd name="connsiteY10" fmla="*/ 3087435 h 3113838"/>
                <a:gd name="connsiteX11" fmla="*/ 0 w 2144851"/>
                <a:gd name="connsiteY11" fmla="*/ 107661 h 3113838"/>
                <a:gd name="connsiteX0" fmla="*/ 0 w 2144851"/>
                <a:gd name="connsiteY0" fmla="*/ 104003 h 3110180"/>
                <a:gd name="connsiteX1" fmla="*/ 26403 w 2144851"/>
                <a:gd name="connsiteY1" fmla="*/ 77600 h 3110180"/>
                <a:gd name="connsiteX2" fmla="*/ 210889 w 2144851"/>
                <a:gd name="connsiteY2" fmla="*/ 76019 h 3110180"/>
                <a:gd name="connsiteX3" fmla="*/ 301402 w 2144851"/>
                <a:gd name="connsiteY3" fmla="*/ 0 h 3110180"/>
                <a:gd name="connsiteX4" fmla="*/ 388123 w 2144851"/>
                <a:gd name="connsiteY4" fmla="*/ 76020 h 3110180"/>
                <a:gd name="connsiteX5" fmla="*/ 2118448 w 2144851"/>
                <a:gd name="connsiteY5" fmla="*/ 77600 h 3110180"/>
                <a:gd name="connsiteX6" fmla="*/ 2144851 w 2144851"/>
                <a:gd name="connsiteY6" fmla="*/ 104003 h 3110180"/>
                <a:gd name="connsiteX7" fmla="*/ 2144851 w 2144851"/>
                <a:gd name="connsiteY7" fmla="*/ 3083777 h 3110180"/>
                <a:gd name="connsiteX8" fmla="*/ 2118448 w 2144851"/>
                <a:gd name="connsiteY8" fmla="*/ 3110180 h 3110180"/>
                <a:gd name="connsiteX9" fmla="*/ 26403 w 2144851"/>
                <a:gd name="connsiteY9" fmla="*/ 3110180 h 3110180"/>
                <a:gd name="connsiteX10" fmla="*/ 0 w 2144851"/>
                <a:gd name="connsiteY10" fmla="*/ 3083777 h 3110180"/>
                <a:gd name="connsiteX11" fmla="*/ 0 w 2144851"/>
                <a:gd name="connsiteY11" fmla="*/ 104003 h 3110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44851" h="3110180">
                  <a:moveTo>
                    <a:pt x="0" y="104003"/>
                  </a:moveTo>
                  <a:cubicBezTo>
                    <a:pt x="0" y="89421"/>
                    <a:pt x="11821" y="77600"/>
                    <a:pt x="26403" y="77600"/>
                  </a:cubicBezTo>
                  <a:lnTo>
                    <a:pt x="210889" y="76019"/>
                  </a:lnTo>
                  <a:lnTo>
                    <a:pt x="301402" y="0"/>
                  </a:lnTo>
                  <a:lnTo>
                    <a:pt x="388123" y="76020"/>
                  </a:lnTo>
                  <a:lnTo>
                    <a:pt x="2118448" y="77600"/>
                  </a:lnTo>
                  <a:cubicBezTo>
                    <a:pt x="2133030" y="77600"/>
                    <a:pt x="2144851" y="89421"/>
                    <a:pt x="2144851" y="104003"/>
                  </a:cubicBezTo>
                  <a:lnTo>
                    <a:pt x="2144851" y="3083777"/>
                  </a:lnTo>
                  <a:cubicBezTo>
                    <a:pt x="2144851" y="3098359"/>
                    <a:pt x="2133030" y="3110180"/>
                    <a:pt x="2118448" y="3110180"/>
                  </a:cubicBezTo>
                  <a:lnTo>
                    <a:pt x="26403" y="3110180"/>
                  </a:lnTo>
                  <a:cubicBezTo>
                    <a:pt x="11821" y="3110180"/>
                    <a:pt x="0" y="3098359"/>
                    <a:pt x="0" y="3083777"/>
                  </a:cubicBezTo>
                  <a:lnTo>
                    <a:pt x="0" y="104003"/>
                  </a:lnTo>
                  <a:close/>
                </a:path>
              </a:pathLst>
            </a:custGeom>
            <a:solidFill>
              <a:schemeClr val="bg1"/>
            </a:solidFill>
            <a:ln>
              <a:noFill/>
            </a:ln>
            <a:effectLst>
              <a:outerShdw blurRad="38100" dist="127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itle 3">
              <a:extLst>
                <a:ext uri="{FF2B5EF4-FFF2-40B4-BE49-F238E27FC236}">
                  <a16:creationId xmlns:a16="http://schemas.microsoft.com/office/drawing/2014/main" id="{F926EB0A-56E3-4766-8788-9C0FC51D8CD6}"/>
                </a:ext>
              </a:extLst>
            </p:cNvPr>
            <p:cNvSpPr txBox="1">
              <a:spLocks/>
            </p:cNvSpPr>
            <p:nvPr/>
          </p:nvSpPr>
          <p:spPr>
            <a:xfrm>
              <a:off x="1387720" y="3382778"/>
              <a:ext cx="2010800" cy="315146"/>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rPr lang="en-US" sz="1400" b="0">
                  <a:latin typeface="Roboto Medium" charset="0"/>
                  <a:ea typeface="Roboto Medium" charset="0"/>
                  <a:cs typeface="Roboto Medium" charset="0"/>
                </a:rPr>
                <a:t>Feature engineering</a:t>
              </a:r>
              <a:endParaRPr lang="en-US" sz="700" b="0">
                <a:latin typeface="Roboto Medium" charset="0"/>
                <a:ea typeface="Roboto Medium" charset="0"/>
                <a:cs typeface="Roboto Medium" charset="0"/>
              </a:endParaRPr>
            </a:p>
          </p:txBody>
        </p:sp>
        <p:sp>
          <p:nvSpPr>
            <p:cNvPr id="14" name="Rectangle 13">
              <a:extLst>
                <a:ext uri="{FF2B5EF4-FFF2-40B4-BE49-F238E27FC236}">
                  <a16:creationId xmlns:a16="http://schemas.microsoft.com/office/drawing/2014/main" id="{4D77D764-1601-4D8B-A73C-5D698A2613CB}"/>
                </a:ext>
              </a:extLst>
            </p:cNvPr>
            <p:cNvSpPr/>
            <p:nvPr/>
          </p:nvSpPr>
          <p:spPr>
            <a:xfrm>
              <a:off x="1356791" y="2956071"/>
              <a:ext cx="402457" cy="338554"/>
            </a:xfrm>
            <a:prstGeom prst="rect">
              <a:avLst/>
            </a:prstGeom>
          </p:spPr>
          <p:txBody>
            <a:bodyPr wrap="square">
              <a:spAutoFit/>
            </a:bodyPr>
            <a:lstStyle/>
            <a:p>
              <a:pPr algn="ctr"/>
              <a:r>
                <a:rPr lang="en-US" sz="1600" b="1">
                  <a:solidFill>
                    <a:schemeClr val="accent6"/>
                  </a:solidFill>
                  <a:latin typeface="linea-arrows-10" charset="0"/>
                  <a:ea typeface="linea-arrows-10" charset="0"/>
                  <a:cs typeface="linea-arrows-10" charset="0"/>
                  <a:sym typeface="Wingdings" panose="05000000000000000000" pitchFamily="2" charset="2"/>
                </a:rPr>
                <a:t></a:t>
              </a:r>
              <a:endParaRPr lang="en-US" sz="1600" b="1">
                <a:solidFill>
                  <a:schemeClr val="accent6"/>
                </a:solidFill>
              </a:endParaRPr>
            </a:p>
          </p:txBody>
        </p:sp>
      </p:grpSp>
      <p:grpSp>
        <p:nvGrpSpPr>
          <p:cNvPr id="15" name="Group 14">
            <a:extLst>
              <a:ext uri="{FF2B5EF4-FFF2-40B4-BE49-F238E27FC236}">
                <a16:creationId xmlns:a16="http://schemas.microsoft.com/office/drawing/2014/main" id="{3D7D4DA9-9D93-4105-AC1A-7FCA42E5F27E}"/>
              </a:ext>
            </a:extLst>
          </p:cNvPr>
          <p:cNvGrpSpPr/>
          <p:nvPr/>
        </p:nvGrpSpPr>
        <p:grpSpPr>
          <a:xfrm>
            <a:off x="4446809" y="2847430"/>
            <a:ext cx="1552621" cy="3200708"/>
            <a:chOff x="1253669" y="2956071"/>
            <a:chExt cx="2144851" cy="3200708"/>
          </a:xfrm>
        </p:grpSpPr>
        <p:sp>
          <p:nvSpPr>
            <p:cNvPr id="16" name="Rounded Rectangle 5">
              <a:extLst>
                <a:ext uri="{FF2B5EF4-FFF2-40B4-BE49-F238E27FC236}">
                  <a16:creationId xmlns:a16="http://schemas.microsoft.com/office/drawing/2014/main" id="{39628440-D27A-4455-8D51-F10CB3423D99}"/>
                </a:ext>
              </a:extLst>
            </p:cNvPr>
            <p:cNvSpPr/>
            <p:nvPr/>
          </p:nvSpPr>
          <p:spPr>
            <a:xfrm>
              <a:off x="1253669" y="3046599"/>
              <a:ext cx="2144851" cy="3110180"/>
            </a:xfrm>
            <a:custGeom>
              <a:avLst/>
              <a:gdLst>
                <a:gd name="connsiteX0" fmla="*/ 0 w 2144851"/>
                <a:gd name="connsiteY0" fmla="*/ 26403 h 3032580"/>
                <a:gd name="connsiteX1" fmla="*/ 26403 w 2144851"/>
                <a:gd name="connsiteY1" fmla="*/ 0 h 3032580"/>
                <a:gd name="connsiteX2" fmla="*/ 2118448 w 2144851"/>
                <a:gd name="connsiteY2" fmla="*/ 0 h 3032580"/>
                <a:gd name="connsiteX3" fmla="*/ 2144851 w 2144851"/>
                <a:gd name="connsiteY3" fmla="*/ 26403 h 3032580"/>
                <a:gd name="connsiteX4" fmla="*/ 2144851 w 2144851"/>
                <a:gd name="connsiteY4" fmla="*/ 3006177 h 3032580"/>
                <a:gd name="connsiteX5" fmla="*/ 2118448 w 2144851"/>
                <a:gd name="connsiteY5" fmla="*/ 3032580 h 3032580"/>
                <a:gd name="connsiteX6" fmla="*/ 26403 w 2144851"/>
                <a:gd name="connsiteY6" fmla="*/ 3032580 h 3032580"/>
                <a:gd name="connsiteX7" fmla="*/ 0 w 2144851"/>
                <a:gd name="connsiteY7" fmla="*/ 3006177 h 3032580"/>
                <a:gd name="connsiteX8" fmla="*/ 0 w 2144851"/>
                <a:gd name="connsiteY8" fmla="*/ 26403 h 3032580"/>
                <a:gd name="connsiteX0" fmla="*/ 0 w 2144851"/>
                <a:gd name="connsiteY0" fmla="*/ 27984 h 3034161"/>
                <a:gd name="connsiteX1" fmla="*/ 26403 w 2144851"/>
                <a:gd name="connsiteY1" fmla="*/ 1581 h 3034161"/>
                <a:gd name="connsiteX2" fmla="*/ 210889 w 2144851"/>
                <a:gd name="connsiteY2" fmla="*/ 0 h 3034161"/>
                <a:gd name="connsiteX3" fmla="*/ 2118448 w 2144851"/>
                <a:gd name="connsiteY3" fmla="*/ 1581 h 3034161"/>
                <a:gd name="connsiteX4" fmla="*/ 2144851 w 2144851"/>
                <a:gd name="connsiteY4" fmla="*/ 27984 h 3034161"/>
                <a:gd name="connsiteX5" fmla="*/ 2144851 w 2144851"/>
                <a:gd name="connsiteY5" fmla="*/ 3007758 h 3034161"/>
                <a:gd name="connsiteX6" fmla="*/ 2118448 w 2144851"/>
                <a:gd name="connsiteY6" fmla="*/ 3034161 h 3034161"/>
                <a:gd name="connsiteX7" fmla="*/ 26403 w 2144851"/>
                <a:gd name="connsiteY7" fmla="*/ 3034161 h 3034161"/>
                <a:gd name="connsiteX8" fmla="*/ 0 w 2144851"/>
                <a:gd name="connsiteY8" fmla="*/ 3007758 h 3034161"/>
                <a:gd name="connsiteX9" fmla="*/ 0 w 2144851"/>
                <a:gd name="connsiteY9" fmla="*/ 27984 h 3034161"/>
                <a:gd name="connsiteX0" fmla="*/ 0 w 2144851"/>
                <a:gd name="connsiteY0" fmla="*/ 27984 h 3034161"/>
                <a:gd name="connsiteX1" fmla="*/ 26403 w 2144851"/>
                <a:gd name="connsiteY1" fmla="*/ 1581 h 3034161"/>
                <a:gd name="connsiteX2" fmla="*/ 210889 w 2144851"/>
                <a:gd name="connsiteY2" fmla="*/ 0 h 3034161"/>
                <a:gd name="connsiteX3" fmla="*/ 256419 w 2144851"/>
                <a:gd name="connsiteY3" fmla="*/ 1 h 3034161"/>
                <a:gd name="connsiteX4" fmla="*/ 2118448 w 2144851"/>
                <a:gd name="connsiteY4" fmla="*/ 1581 h 3034161"/>
                <a:gd name="connsiteX5" fmla="*/ 2144851 w 2144851"/>
                <a:gd name="connsiteY5" fmla="*/ 27984 h 3034161"/>
                <a:gd name="connsiteX6" fmla="*/ 2144851 w 2144851"/>
                <a:gd name="connsiteY6" fmla="*/ 3007758 h 3034161"/>
                <a:gd name="connsiteX7" fmla="*/ 2118448 w 2144851"/>
                <a:gd name="connsiteY7" fmla="*/ 3034161 h 3034161"/>
                <a:gd name="connsiteX8" fmla="*/ 26403 w 2144851"/>
                <a:gd name="connsiteY8" fmla="*/ 3034161 h 3034161"/>
                <a:gd name="connsiteX9" fmla="*/ 0 w 2144851"/>
                <a:gd name="connsiteY9" fmla="*/ 3007758 h 3034161"/>
                <a:gd name="connsiteX10" fmla="*/ 0 w 2144851"/>
                <a:gd name="connsiteY10" fmla="*/ 27984 h 3034161"/>
                <a:gd name="connsiteX0" fmla="*/ 0 w 2144851"/>
                <a:gd name="connsiteY0" fmla="*/ 27984 h 3034161"/>
                <a:gd name="connsiteX1" fmla="*/ 26403 w 2144851"/>
                <a:gd name="connsiteY1" fmla="*/ 1581 h 3034161"/>
                <a:gd name="connsiteX2" fmla="*/ 210889 w 2144851"/>
                <a:gd name="connsiteY2" fmla="*/ 0 h 3034161"/>
                <a:gd name="connsiteX3" fmla="*/ 256419 w 2144851"/>
                <a:gd name="connsiteY3" fmla="*/ 1 h 3034161"/>
                <a:gd name="connsiteX4" fmla="*/ 298155 w 2144851"/>
                <a:gd name="connsiteY4" fmla="*/ 1 h 3034161"/>
                <a:gd name="connsiteX5" fmla="*/ 2118448 w 2144851"/>
                <a:gd name="connsiteY5" fmla="*/ 1581 h 3034161"/>
                <a:gd name="connsiteX6" fmla="*/ 2144851 w 2144851"/>
                <a:gd name="connsiteY6" fmla="*/ 27984 h 3034161"/>
                <a:gd name="connsiteX7" fmla="*/ 2144851 w 2144851"/>
                <a:gd name="connsiteY7" fmla="*/ 3007758 h 3034161"/>
                <a:gd name="connsiteX8" fmla="*/ 2118448 w 2144851"/>
                <a:gd name="connsiteY8" fmla="*/ 3034161 h 3034161"/>
                <a:gd name="connsiteX9" fmla="*/ 26403 w 2144851"/>
                <a:gd name="connsiteY9" fmla="*/ 3034161 h 3034161"/>
                <a:gd name="connsiteX10" fmla="*/ 0 w 2144851"/>
                <a:gd name="connsiteY10" fmla="*/ 3007758 h 3034161"/>
                <a:gd name="connsiteX11" fmla="*/ 0 w 2144851"/>
                <a:gd name="connsiteY11" fmla="*/ 27984 h 3034161"/>
                <a:gd name="connsiteX0" fmla="*/ 0 w 2144851"/>
                <a:gd name="connsiteY0" fmla="*/ 81102 h 3087279"/>
                <a:gd name="connsiteX1" fmla="*/ 26403 w 2144851"/>
                <a:gd name="connsiteY1" fmla="*/ 54699 h 3087279"/>
                <a:gd name="connsiteX2" fmla="*/ 210889 w 2144851"/>
                <a:gd name="connsiteY2" fmla="*/ 53118 h 3087279"/>
                <a:gd name="connsiteX3" fmla="*/ 256419 w 2144851"/>
                <a:gd name="connsiteY3" fmla="*/ 0 h 3087279"/>
                <a:gd name="connsiteX4" fmla="*/ 298155 w 2144851"/>
                <a:gd name="connsiteY4" fmla="*/ 53119 h 3087279"/>
                <a:gd name="connsiteX5" fmla="*/ 2118448 w 2144851"/>
                <a:gd name="connsiteY5" fmla="*/ 54699 h 3087279"/>
                <a:gd name="connsiteX6" fmla="*/ 2144851 w 2144851"/>
                <a:gd name="connsiteY6" fmla="*/ 81102 h 3087279"/>
                <a:gd name="connsiteX7" fmla="*/ 2144851 w 2144851"/>
                <a:gd name="connsiteY7" fmla="*/ 3060876 h 3087279"/>
                <a:gd name="connsiteX8" fmla="*/ 2118448 w 2144851"/>
                <a:gd name="connsiteY8" fmla="*/ 3087279 h 3087279"/>
                <a:gd name="connsiteX9" fmla="*/ 26403 w 2144851"/>
                <a:gd name="connsiteY9" fmla="*/ 3087279 h 3087279"/>
                <a:gd name="connsiteX10" fmla="*/ 0 w 2144851"/>
                <a:gd name="connsiteY10" fmla="*/ 3060876 h 3087279"/>
                <a:gd name="connsiteX11" fmla="*/ 0 w 2144851"/>
                <a:gd name="connsiteY11" fmla="*/ 81102 h 3087279"/>
                <a:gd name="connsiteX0" fmla="*/ 0 w 2144851"/>
                <a:gd name="connsiteY0" fmla="*/ 81102 h 3087279"/>
                <a:gd name="connsiteX1" fmla="*/ 26403 w 2144851"/>
                <a:gd name="connsiteY1" fmla="*/ 54699 h 3087279"/>
                <a:gd name="connsiteX2" fmla="*/ 210889 w 2144851"/>
                <a:gd name="connsiteY2" fmla="*/ 53118 h 3087279"/>
                <a:gd name="connsiteX3" fmla="*/ 256419 w 2144851"/>
                <a:gd name="connsiteY3" fmla="*/ 0 h 3087279"/>
                <a:gd name="connsiteX4" fmla="*/ 358862 w 2144851"/>
                <a:gd name="connsiteY4" fmla="*/ 53119 h 3087279"/>
                <a:gd name="connsiteX5" fmla="*/ 2118448 w 2144851"/>
                <a:gd name="connsiteY5" fmla="*/ 54699 h 3087279"/>
                <a:gd name="connsiteX6" fmla="*/ 2144851 w 2144851"/>
                <a:gd name="connsiteY6" fmla="*/ 81102 h 3087279"/>
                <a:gd name="connsiteX7" fmla="*/ 2144851 w 2144851"/>
                <a:gd name="connsiteY7" fmla="*/ 3060876 h 3087279"/>
                <a:gd name="connsiteX8" fmla="*/ 2118448 w 2144851"/>
                <a:gd name="connsiteY8" fmla="*/ 3087279 h 3087279"/>
                <a:gd name="connsiteX9" fmla="*/ 26403 w 2144851"/>
                <a:gd name="connsiteY9" fmla="*/ 3087279 h 3087279"/>
                <a:gd name="connsiteX10" fmla="*/ 0 w 2144851"/>
                <a:gd name="connsiteY10" fmla="*/ 3060876 h 3087279"/>
                <a:gd name="connsiteX11" fmla="*/ 0 w 2144851"/>
                <a:gd name="connsiteY11" fmla="*/ 81102 h 3087279"/>
                <a:gd name="connsiteX0" fmla="*/ 0 w 2144851"/>
                <a:gd name="connsiteY0" fmla="*/ 111455 h 3117632"/>
                <a:gd name="connsiteX1" fmla="*/ 26403 w 2144851"/>
                <a:gd name="connsiteY1" fmla="*/ 85052 h 3117632"/>
                <a:gd name="connsiteX2" fmla="*/ 210889 w 2144851"/>
                <a:gd name="connsiteY2" fmla="*/ 83471 h 3117632"/>
                <a:gd name="connsiteX3" fmla="*/ 301949 w 2144851"/>
                <a:gd name="connsiteY3" fmla="*/ 0 h 3117632"/>
                <a:gd name="connsiteX4" fmla="*/ 358862 w 2144851"/>
                <a:gd name="connsiteY4" fmla="*/ 83472 h 3117632"/>
                <a:gd name="connsiteX5" fmla="*/ 2118448 w 2144851"/>
                <a:gd name="connsiteY5" fmla="*/ 85052 h 3117632"/>
                <a:gd name="connsiteX6" fmla="*/ 2144851 w 2144851"/>
                <a:gd name="connsiteY6" fmla="*/ 111455 h 3117632"/>
                <a:gd name="connsiteX7" fmla="*/ 2144851 w 2144851"/>
                <a:gd name="connsiteY7" fmla="*/ 3091229 h 3117632"/>
                <a:gd name="connsiteX8" fmla="*/ 2118448 w 2144851"/>
                <a:gd name="connsiteY8" fmla="*/ 3117632 h 3117632"/>
                <a:gd name="connsiteX9" fmla="*/ 26403 w 2144851"/>
                <a:gd name="connsiteY9" fmla="*/ 3117632 h 3117632"/>
                <a:gd name="connsiteX10" fmla="*/ 0 w 2144851"/>
                <a:gd name="connsiteY10" fmla="*/ 3091229 h 3117632"/>
                <a:gd name="connsiteX11" fmla="*/ 0 w 2144851"/>
                <a:gd name="connsiteY11" fmla="*/ 111455 h 3117632"/>
                <a:gd name="connsiteX0" fmla="*/ 0 w 2144851"/>
                <a:gd name="connsiteY0" fmla="*/ 122838 h 3129015"/>
                <a:gd name="connsiteX1" fmla="*/ 26403 w 2144851"/>
                <a:gd name="connsiteY1" fmla="*/ 96435 h 3129015"/>
                <a:gd name="connsiteX2" fmla="*/ 210889 w 2144851"/>
                <a:gd name="connsiteY2" fmla="*/ 94854 h 3129015"/>
                <a:gd name="connsiteX3" fmla="*/ 286772 w 2144851"/>
                <a:gd name="connsiteY3" fmla="*/ 0 h 3129015"/>
                <a:gd name="connsiteX4" fmla="*/ 358862 w 2144851"/>
                <a:gd name="connsiteY4" fmla="*/ 94855 h 3129015"/>
                <a:gd name="connsiteX5" fmla="*/ 2118448 w 2144851"/>
                <a:gd name="connsiteY5" fmla="*/ 96435 h 3129015"/>
                <a:gd name="connsiteX6" fmla="*/ 2144851 w 2144851"/>
                <a:gd name="connsiteY6" fmla="*/ 122838 h 3129015"/>
                <a:gd name="connsiteX7" fmla="*/ 2144851 w 2144851"/>
                <a:gd name="connsiteY7" fmla="*/ 3102612 h 3129015"/>
                <a:gd name="connsiteX8" fmla="*/ 2118448 w 2144851"/>
                <a:gd name="connsiteY8" fmla="*/ 3129015 h 3129015"/>
                <a:gd name="connsiteX9" fmla="*/ 26403 w 2144851"/>
                <a:gd name="connsiteY9" fmla="*/ 3129015 h 3129015"/>
                <a:gd name="connsiteX10" fmla="*/ 0 w 2144851"/>
                <a:gd name="connsiteY10" fmla="*/ 3102612 h 3129015"/>
                <a:gd name="connsiteX11" fmla="*/ 0 w 2144851"/>
                <a:gd name="connsiteY11" fmla="*/ 122838 h 3129015"/>
                <a:gd name="connsiteX0" fmla="*/ 0 w 2144851"/>
                <a:gd name="connsiteY0" fmla="*/ 107661 h 3113838"/>
                <a:gd name="connsiteX1" fmla="*/ 26403 w 2144851"/>
                <a:gd name="connsiteY1" fmla="*/ 81258 h 3113838"/>
                <a:gd name="connsiteX2" fmla="*/ 210889 w 2144851"/>
                <a:gd name="connsiteY2" fmla="*/ 79677 h 3113838"/>
                <a:gd name="connsiteX3" fmla="*/ 286772 w 2144851"/>
                <a:gd name="connsiteY3" fmla="*/ 0 h 3113838"/>
                <a:gd name="connsiteX4" fmla="*/ 358862 w 2144851"/>
                <a:gd name="connsiteY4" fmla="*/ 79678 h 3113838"/>
                <a:gd name="connsiteX5" fmla="*/ 2118448 w 2144851"/>
                <a:gd name="connsiteY5" fmla="*/ 81258 h 3113838"/>
                <a:gd name="connsiteX6" fmla="*/ 2144851 w 2144851"/>
                <a:gd name="connsiteY6" fmla="*/ 107661 h 3113838"/>
                <a:gd name="connsiteX7" fmla="*/ 2144851 w 2144851"/>
                <a:gd name="connsiteY7" fmla="*/ 3087435 h 3113838"/>
                <a:gd name="connsiteX8" fmla="*/ 2118448 w 2144851"/>
                <a:gd name="connsiteY8" fmla="*/ 3113838 h 3113838"/>
                <a:gd name="connsiteX9" fmla="*/ 26403 w 2144851"/>
                <a:gd name="connsiteY9" fmla="*/ 3113838 h 3113838"/>
                <a:gd name="connsiteX10" fmla="*/ 0 w 2144851"/>
                <a:gd name="connsiteY10" fmla="*/ 3087435 h 3113838"/>
                <a:gd name="connsiteX11" fmla="*/ 0 w 2144851"/>
                <a:gd name="connsiteY11" fmla="*/ 107661 h 3113838"/>
                <a:gd name="connsiteX0" fmla="*/ 0 w 2144851"/>
                <a:gd name="connsiteY0" fmla="*/ 107661 h 3113838"/>
                <a:gd name="connsiteX1" fmla="*/ 26403 w 2144851"/>
                <a:gd name="connsiteY1" fmla="*/ 81258 h 3113838"/>
                <a:gd name="connsiteX2" fmla="*/ 210889 w 2144851"/>
                <a:gd name="connsiteY2" fmla="*/ 79677 h 3113838"/>
                <a:gd name="connsiteX3" fmla="*/ 286772 w 2144851"/>
                <a:gd name="connsiteY3" fmla="*/ 0 h 3113838"/>
                <a:gd name="connsiteX4" fmla="*/ 388123 w 2144851"/>
                <a:gd name="connsiteY4" fmla="*/ 79678 h 3113838"/>
                <a:gd name="connsiteX5" fmla="*/ 2118448 w 2144851"/>
                <a:gd name="connsiteY5" fmla="*/ 81258 h 3113838"/>
                <a:gd name="connsiteX6" fmla="*/ 2144851 w 2144851"/>
                <a:gd name="connsiteY6" fmla="*/ 107661 h 3113838"/>
                <a:gd name="connsiteX7" fmla="*/ 2144851 w 2144851"/>
                <a:gd name="connsiteY7" fmla="*/ 3087435 h 3113838"/>
                <a:gd name="connsiteX8" fmla="*/ 2118448 w 2144851"/>
                <a:gd name="connsiteY8" fmla="*/ 3113838 h 3113838"/>
                <a:gd name="connsiteX9" fmla="*/ 26403 w 2144851"/>
                <a:gd name="connsiteY9" fmla="*/ 3113838 h 3113838"/>
                <a:gd name="connsiteX10" fmla="*/ 0 w 2144851"/>
                <a:gd name="connsiteY10" fmla="*/ 3087435 h 3113838"/>
                <a:gd name="connsiteX11" fmla="*/ 0 w 2144851"/>
                <a:gd name="connsiteY11" fmla="*/ 107661 h 3113838"/>
                <a:gd name="connsiteX0" fmla="*/ 0 w 2144851"/>
                <a:gd name="connsiteY0" fmla="*/ 104003 h 3110180"/>
                <a:gd name="connsiteX1" fmla="*/ 26403 w 2144851"/>
                <a:gd name="connsiteY1" fmla="*/ 77600 h 3110180"/>
                <a:gd name="connsiteX2" fmla="*/ 210889 w 2144851"/>
                <a:gd name="connsiteY2" fmla="*/ 76019 h 3110180"/>
                <a:gd name="connsiteX3" fmla="*/ 301402 w 2144851"/>
                <a:gd name="connsiteY3" fmla="*/ 0 h 3110180"/>
                <a:gd name="connsiteX4" fmla="*/ 388123 w 2144851"/>
                <a:gd name="connsiteY4" fmla="*/ 76020 h 3110180"/>
                <a:gd name="connsiteX5" fmla="*/ 2118448 w 2144851"/>
                <a:gd name="connsiteY5" fmla="*/ 77600 h 3110180"/>
                <a:gd name="connsiteX6" fmla="*/ 2144851 w 2144851"/>
                <a:gd name="connsiteY6" fmla="*/ 104003 h 3110180"/>
                <a:gd name="connsiteX7" fmla="*/ 2144851 w 2144851"/>
                <a:gd name="connsiteY7" fmla="*/ 3083777 h 3110180"/>
                <a:gd name="connsiteX8" fmla="*/ 2118448 w 2144851"/>
                <a:gd name="connsiteY8" fmla="*/ 3110180 h 3110180"/>
                <a:gd name="connsiteX9" fmla="*/ 26403 w 2144851"/>
                <a:gd name="connsiteY9" fmla="*/ 3110180 h 3110180"/>
                <a:gd name="connsiteX10" fmla="*/ 0 w 2144851"/>
                <a:gd name="connsiteY10" fmla="*/ 3083777 h 3110180"/>
                <a:gd name="connsiteX11" fmla="*/ 0 w 2144851"/>
                <a:gd name="connsiteY11" fmla="*/ 104003 h 3110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44851" h="3110180">
                  <a:moveTo>
                    <a:pt x="0" y="104003"/>
                  </a:moveTo>
                  <a:cubicBezTo>
                    <a:pt x="0" y="89421"/>
                    <a:pt x="11821" y="77600"/>
                    <a:pt x="26403" y="77600"/>
                  </a:cubicBezTo>
                  <a:lnTo>
                    <a:pt x="210889" y="76019"/>
                  </a:lnTo>
                  <a:lnTo>
                    <a:pt x="301402" y="0"/>
                  </a:lnTo>
                  <a:lnTo>
                    <a:pt x="388123" y="76020"/>
                  </a:lnTo>
                  <a:lnTo>
                    <a:pt x="2118448" y="77600"/>
                  </a:lnTo>
                  <a:cubicBezTo>
                    <a:pt x="2133030" y="77600"/>
                    <a:pt x="2144851" y="89421"/>
                    <a:pt x="2144851" y="104003"/>
                  </a:cubicBezTo>
                  <a:lnTo>
                    <a:pt x="2144851" y="3083777"/>
                  </a:lnTo>
                  <a:cubicBezTo>
                    <a:pt x="2144851" y="3098359"/>
                    <a:pt x="2133030" y="3110180"/>
                    <a:pt x="2118448" y="3110180"/>
                  </a:cubicBezTo>
                  <a:lnTo>
                    <a:pt x="26403" y="3110180"/>
                  </a:lnTo>
                  <a:cubicBezTo>
                    <a:pt x="11821" y="3110180"/>
                    <a:pt x="0" y="3098359"/>
                    <a:pt x="0" y="3083777"/>
                  </a:cubicBezTo>
                  <a:lnTo>
                    <a:pt x="0" y="104003"/>
                  </a:lnTo>
                  <a:close/>
                </a:path>
              </a:pathLst>
            </a:custGeom>
            <a:solidFill>
              <a:schemeClr val="bg1"/>
            </a:solidFill>
            <a:ln>
              <a:noFill/>
            </a:ln>
            <a:effectLst>
              <a:outerShdw blurRad="38100" dist="127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itle 3">
              <a:extLst>
                <a:ext uri="{FF2B5EF4-FFF2-40B4-BE49-F238E27FC236}">
                  <a16:creationId xmlns:a16="http://schemas.microsoft.com/office/drawing/2014/main" id="{057BECC8-F643-4835-B857-24CECD4A20F9}"/>
                </a:ext>
              </a:extLst>
            </p:cNvPr>
            <p:cNvSpPr txBox="1">
              <a:spLocks/>
            </p:cNvSpPr>
            <p:nvPr/>
          </p:nvSpPr>
          <p:spPr>
            <a:xfrm>
              <a:off x="1387720" y="3382778"/>
              <a:ext cx="2010800" cy="315146"/>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rPr lang="en-US" sz="1400" b="0">
                  <a:latin typeface="Roboto Medium" charset="0"/>
                  <a:ea typeface="Roboto Medium" charset="0"/>
                  <a:cs typeface="Roboto Medium" charset="0"/>
                </a:rPr>
                <a:t>Pick and play</a:t>
              </a:r>
              <a:endParaRPr lang="en-US" sz="700" b="0">
                <a:latin typeface="Roboto Medium" charset="0"/>
                <a:ea typeface="Roboto Medium" charset="0"/>
                <a:cs typeface="Roboto Medium" charset="0"/>
              </a:endParaRPr>
            </a:p>
          </p:txBody>
        </p:sp>
        <p:sp>
          <p:nvSpPr>
            <p:cNvPr id="18" name="Rectangle 17">
              <a:extLst>
                <a:ext uri="{FF2B5EF4-FFF2-40B4-BE49-F238E27FC236}">
                  <a16:creationId xmlns:a16="http://schemas.microsoft.com/office/drawing/2014/main" id="{34F83A2C-35FD-4829-937F-CEDA2147E3B9}"/>
                </a:ext>
              </a:extLst>
            </p:cNvPr>
            <p:cNvSpPr/>
            <p:nvPr/>
          </p:nvSpPr>
          <p:spPr>
            <a:xfrm>
              <a:off x="1356791" y="2956071"/>
              <a:ext cx="402457" cy="338554"/>
            </a:xfrm>
            <a:prstGeom prst="rect">
              <a:avLst/>
            </a:prstGeom>
          </p:spPr>
          <p:txBody>
            <a:bodyPr wrap="square">
              <a:spAutoFit/>
            </a:bodyPr>
            <a:lstStyle/>
            <a:p>
              <a:pPr algn="ctr"/>
              <a:r>
                <a:rPr lang="en-US" sz="1600" b="1">
                  <a:solidFill>
                    <a:schemeClr val="accent1"/>
                  </a:solidFill>
                  <a:latin typeface="linea-arrows-10" charset="0"/>
                  <a:ea typeface="linea-arrows-10" charset="0"/>
                  <a:cs typeface="linea-arrows-10" charset="0"/>
                  <a:sym typeface="Wingdings" panose="05000000000000000000" pitchFamily="2" charset="2"/>
                </a:rPr>
                <a:t></a:t>
              </a:r>
              <a:endParaRPr lang="en-US" sz="1600" b="1">
                <a:solidFill>
                  <a:schemeClr val="accent1"/>
                </a:solidFill>
              </a:endParaRPr>
            </a:p>
          </p:txBody>
        </p:sp>
      </p:grpSp>
      <p:sp>
        <p:nvSpPr>
          <p:cNvPr id="19" name="Title 3">
            <a:extLst>
              <a:ext uri="{FF2B5EF4-FFF2-40B4-BE49-F238E27FC236}">
                <a16:creationId xmlns:a16="http://schemas.microsoft.com/office/drawing/2014/main" id="{B6843632-83AF-4134-AFAD-DFA96393C2AB}"/>
              </a:ext>
            </a:extLst>
          </p:cNvPr>
          <p:cNvSpPr txBox="1">
            <a:spLocks/>
          </p:cNvSpPr>
          <p:nvPr/>
        </p:nvSpPr>
        <p:spPr>
          <a:xfrm>
            <a:off x="970685" y="2303307"/>
            <a:ext cx="1618787" cy="380382"/>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rPr lang="en-US" sz="2400" b="0">
                <a:solidFill>
                  <a:schemeClr val="accent5"/>
                </a:solidFill>
                <a:latin typeface="Roboto Light" charset="0"/>
                <a:ea typeface="Roboto Light" charset="0"/>
                <a:cs typeface="Roboto Light" charset="0"/>
              </a:rPr>
              <a:t>Data</a:t>
            </a:r>
            <a:endParaRPr lang="en-US" sz="1050" b="0">
              <a:solidFill>
                <a:schemeClr val="accent5"/>
              </a:solidFill>
              <a:latin typeface="Roboto Light" charset="0"/>
              <a:ea typeface="Roboto Light" charset="0"/>
              <a:cs typeface="Roboto Light" charset="0"/>
            </a:endParaRPr>
          </a:p>
        </p:txBody>
      </p:sp>
      <p:sp>
        <p:nvSpPr>
          <p:cNvPr id="20" name="Title 3">
            <a:extLst>
              <a:ext uri="{FF2B5EF4-FFF2-40B4-BE49-F238E27FC236}">
                <a16:creationId xmlns:a16="http://schemas.microsoft.com/office/drawing/2014/main" id="{BAF4A688-A4FD-4F85-8E61-44ABE7F9094C}"/>
              </a:ext>
            </a:extLst>
          </p:cNvPr>
          <p:cNvSpPr txBox="1">
            <a:spLocks/>
          </p:cNvSpPr>
          <p:nvPr/>
        </p:nvSpPr>
        <p:spPr>
          <a:xfrm>
            <a:off x="2676907" y="2308058"/>
            <a:ext cx="1618787" cy="380382"/>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rPr lang="en-US" sz="2400" b="0">
                <a:solidFill>
                  <a:schemeClr val="accent6"/>
                </a:solidFill>
                <a:latin typeface="Roboto Light" charset="0"/>
                <a:ea typeface="Roboto Light" charset="0"/>
                <a:cs typeface="Roboto Light" charset="0"/>
              </a:rPr>
              <a:t>Feature</a:t>
            </a:r>
            <a:endParaRPr lang="en-US" sz="1050" b="0">
              <a:solidFill>
                <a:schemeClr val="accent6"/>
              </a:solidFill>
              <a:latin typeface="Roboto Light" charset="0"/>
              <a:ea typeface="Roboto Light" charset="0"/>
              <a:cs typeface="Roboto Light" charset="0"/>
            </a:endParaRPr>
          </a:p>
        </p:txBody>
      </p:sp>
      <p:sp>
        <p:nvSpPr>
          <p:cNvPr id="21" name="Title 3">
            <a:extLst>
              <a:ext uri="{FF2B5EF4-FFF2-40B4-BE49-F238E27FC236}">
                <a16:creationId xmlns:a16="http://schemas.microsoft.com/office/drawing/2014/main" id="{A11BC2E9-03C3-4DBA-BDC3-98D06012BA79}"/>
              </a:ext>
            </a:extLst>
          </p:cNvPr>
          <p:cNvSpPr txBox="1">
            <a:spLocks/>
          </p:cNvSpPr>
          <p:nvPr/>
        </p:nvSpPr>
        <p:spPr>
          <a:xfrm>
            <a:off x="6306335" y="2304372"/>
            <a:ext cx="1618787" cy="380382"/>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rPr lang="en-US" sz="2400" b="0">
                <a:solidFill>
                  <a:srgbClr val="00B0F0"/>
                </a:solidFill>
                <a:latin typeface="Roboto Light" charset="0"/>
                <a:ea typeface="Roboto Light" charset="0"/>
                <a:cs typeface="Roboto Light" charset="0"/>
              </a:rPr>
              <a:t>Tuning</a:t>
            </a:r>
            <a:endParaRPr lang="en-US" sz="1050" b="0">
              <a:solidFill>
                <a:srgbClr val="00B0F0"/>
              </a:solidFill>
              <a:latin typeface="Roboto Light" charset="0"/>
              <a:ea typeface="Roboto Light" charset="0"/>
              <a:cs typeface="Roboto Light" charset="0"/>
            </a:endParaRPr>
          </a:p>
        </p:txBody>
      </p:sp>
      <p:cxnSp>
        <p:nvCxnSpPr>
          <p:cNvPr id="22" name="Straight Connector 21">
            <a:extLst>
              <a:ext uri="{FF2B5EF4-FFF2-40B4-BE49-F238E27FC236}">
                <a16:creationId xmlns:a16="http://schemas.microsoft.com/office/drawing/2014/main" id="{8BE32383-EE38-49A1-A70A-E691E754074D}"/>
              </a:ext>
            </a:extLst>
          </p:cNvPr>
          <p:cNvCxnSpPr/>
          <p:nvPr/>
        </p:nvCxnSpPr>
        <p:spPr>
          <a:xfrm>
            <a:off x="2481561" y="2163808"/>
            <a:ext cx="0" cy="600405"/>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4759AC2D-9420-4026-A6E0-AE0C057A9707}"/>
              </a:ext>
            </a:extLst>
          </p:cNvPr>
          <p:cNvCxnSpPr/>
          <p:nvPr/>
        </p:nvCxnSpPr>
        <p:spPr>
          <a:xfrm>
            <a:off x="4350886" y="2163808"/>
            <a:ext cx="0" cy="600405"/>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5EF1A420-56C6-48B2-9F7C-EFC86D6EDA7A}"/>
              </a:ext>
            </a:extLst>
          </p:cNvPr>
          <p:cNvSpPr txBox="1"/>
          <p:nvPr/>
        </p:nvSpPr>
        <p:spPr>
          <a:xfrm>
            <a:off x="906631" y="3654747"/>
            <a:ext cx="1285657" cy="1443152"/>
          </a:xfrm>
          <a:prstGeom prst="rect">
            <a:avLst/>
          </a:prstGeom>
          <a:noFill/>
        </p:spPr>
        <p:txBody>
          <a:bodyPr wrap="square" rtlCol="0">
            <a:spAutoFit/>
          </a:bodyPr>
          <a:lstStyle/>
          <a:p>
            <a:pPr>
              <a:lnSpc>
                <a:spcPct val="150000"/>
              </a:lnSpc>
            </a:pPr>
            <a:r>
              <a:rPr lang="en-US" sz="1200">
                <a:solidFill>
                  <a:schemeClr val="tx1">
                    <a:alpha val="70000"/>
                  </a:schemeClr>
                </a:solidFill>
                <a:latin typeface="Roboto Light" charset="0"/>
                <a:ea typeface="Roboto Light" charset="0"/>
                <a:cs typeface="Roboto Light" charset="0"/>
              </a:rPr>
              <a:t>Automated ML currently supports automated data cleaning</a:t>
            </a:r>
          </a:p>
        </p:txBody>
      </p:sp>
      <p:sp>
        <p:nvSpPr>
          <p:cNvPr id="25" name="TextBox 24">
            <a:extLst>
              <a:ext uri="{FF2B5EF4-FFF2-40B4-BE49-F238E27FC236}">
                <a16:creationId xmlns:a16="http://schemas.microsoft.com/office/drawing/2014/main" id="{D69A59D2-F1E1-4E7D-8E8B-299B97153E9A}"/>
              </a:ext>
            </a:extLst>
          </p:cNvPr>
          <p:cNvSpPr txBox="1"/>
          <p:nvPr/>
        </p:nvSpPr>
        <p:spPr>
          <a:xfrm>
            <a:off x="2721002" y="3671781"/>
            <a:ext cx="1455584" cy="1720151"/>
          </a:xfrm>
          <a:prstGeom prst="rect">
            <a:avLst/>
          </a:prstGeom>
          <a:noFill/>
        </p:spPr>
        <p:txBody>
          <a:bodyPr wrap="square" rtlCol="0">
            <a:spAutoFit/>
          </a:bodyPr>
          <a:lstStyle/>
          <a:p>
            <a:pPr>
              <a:lnSpc>
                <a:spcPct val="150000"/>
              </a:lnSpc>
            </a:pPr>
            <a:r>
              <a:rPr lang="en-US" sz="1200">
                <a:solidFill>
                  <a:schemeClr val="tx1">
                    <a:alpha val="70000"/>
                  </a:schemeClr>
                </a:solidFill>
                <a:latin typeface="Roboto Light" charset="0"/>
                <a:ea typeface="Roboto Light" charset="0"/>
                <a:cs typeface="Roboto Light" charset="0"/>
              </a:rPr>
              <a:t>Most time consuming part when done manually can now be done within minutes.</a:t>
            </a:r>
          </a:p>
        </p:txBody>
      </p:sp>
      <p:sp>
        <p:nvSpPr>
          <p:cNvPr id="26" name="TextBox 25">
            <a:extLst>
              <a:ext uri="{FF2B5EF4-FFF2-40B4-BE49-F238E27FC236}">
                <a16:creationId xmlns:a16="http://schemas.microsoft.com/office/drawing/2014/main" id="{6A200C24-2575-480F-A597-0C0D61FAF2FA}"/>
              </a:ext>
            </a:extLst>
          </p:cNvPr>
          <p:cNvSpPr txBox="1"/>
          <p:nvPr/>
        </p:nvSpPr>
        <p:spPr>
          <a:xfrm>
            <a:off x="4521457" y="3603620"/>
            <a:ext cx="1418639" cy="1166153"/>
          </a:xfrm>
          <a:prstGeom prst="rect">
            <a:avLst/>
          </a:prstGeom>
          <a:noFill/>
        </p:spPr>
        <p:txBody>
          <a:bodyPr wrap="square" rtlCol="0">
            <a:spAutoFit/>
          </a:bodyPr>
          <a:lstStyle/>
          <a:p>
            <a:pPr>
              <a:lnSpc>
                <a:spcPct val="150000"/>
              </a:lnSpc>
            </a:pPr>
            <a:r>
              <a:rPr lang="en-US" sz="1200">
                <a:solidFill>
                  <a:schemeClr val="tx1">
                    <a:alpha val="70000"/>
                  </a:schemeClr>
                </a:solidFill>
                <a:latin typeface="Roboto Light" charset="0"/>
                <a:ea typeface="Roboto Light" charset="0"/>
                <a:cs typeface="Roboto Light" charset="0"/>
              </a:rPr>
              <a:t>Testing many different algorithms at once.</a:t>
            </a:r>
          </a:p>
        </p:txBody>
      </p:sp>
      <p:cxnSp>
        <p:nvCxnSpPr>
          <p:cNvPr id="27" name="Straight Connector 26">
            <a:extLst>
              <a:ext uri="{FF2B5EF4-FFF2-40B4-BE49-F238E27FC236}">
                <a16:creationId xmlns:a16="http://schemas.microsoft.com/office/drawing/2014/main" id="{447B6A17-6423-447E-A4B1-9DA40F390748}"/>
              </a:ext>
            </a:extLst>
          </p:cNvPr>
          <p:cNvCxnSpPr/>
          <p:nvPr/>
        </p:nvCxnSpPr>
        <p:spPr>
          <a:xfrm>
            <a:off x="6110593" y="2190710"/>
            <a:ext cx="0" cy="600405"/>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4146933E-EC26-468A-8579-E301C54E76FB}"/>
              </a:ext>
            </a:extLst>
          </p:cNvPr>
          <p:cNvGrpSpPr/>
          <p:nvPr/>
        </p:nvGrpSpPr>
        <p:grpSpPr>
          <a:xfrm>
            <a:off x="6288146" y="2841776"/>
            <a:ext cx="1552622" cy="3200708"/>
            <a:chOff x="1253669" y="2956071"/>
            <a:chExt cx="2144851" cy="3200708"/>
          </a:xfrm>
        </p:grpSpPr>
        <p:sp>
          <p:nvSpPr>
            <p:cNvPr id="29" name="Rounded Rectangle 5">
              <a:extLst>
                <a:ext uri="{FF2B5EF4-FFF2-40B4-BE49-F238E27FC236}">
                  <a16:creationId xmlns:a16="http://schemas.microsoft.com/office/drawing/2014/main" id="{467EEB44-98B0-4C21-87B2-633E171919EC}"/>
                </a:ext>
              </a:extLst>
            </p:cNvPr>
            <p:cNvSpPr/>
            <p:nvPr/>
          </p:nvSpPr>
          <p:spPr>
            <a:xfrm>
              <a:off x="1253669" y="3046599"/>
              <a:ext cx="2144851" cy="3110180"/>
            </a:xfrm>
            <a:custGeom>
              <a:avLst/>
              <a:gdLst>
                <a:gd name="connsiteX0" fmla="*/ 0 w 2144851"/>
                <a:gd name="connsiteY0" fmla="*/ 26403 h 3032580"/>
                <a:gd name="connsiteX1" fmla="*/ 26403 w 2144851"/>
                <a:gd name="connsiteY1" fmla="*/ 0 h 3032580"/>
                <a:gd name="connsiteX2" fmla="*/ 2118448 w 2144851"/>
                <a:gd name="connsiteY2" fmla="*/ 0 h 3032580"/>
                <a:gd name="connsiteX3" fmla="*/ 2144851 w 2144851"/>
                <a:gd name="connsiteY3" fmla="*/ 26403 h 3032580"/>
                <a:gd name="connsiteX4" fmla="*/ 2144851 w 2144851"/>
                <a:gd name="connsiteY4" fmla="*/ 3006177 h 3032580"/>
                <a:gd name="connsiteX5" fmla="*/ 2118448 w 2144851"/>
                <a:gd name="connsiteY5" fmla="*/ 3032580 h 3032580"/>
                <a:gd name="connsiteX6" fmla="*/ 26403 w 2144851"/>
                <a:gd name="connsiteY6" fmla="*/ 3032580 h 3032580"/>
                <a:gd name="connsiteX7" fmla="*/ 0 w 2144851"/>
                <a:gd name="connsiteY7" fmla="*/ 3006177 h 3032580"/>
                <a:gd name="connsiteX8" fmla="*/ 0 w 2144851"/>
                <a:gd name="connsiteY8" fmla="*/ 26403 h 3032580"/>
                <a:gd name="connsiteX0" fmla="*/ 0 w 2144851"/>
                <a:gd name="connsiteY0" fmla="*/ 27984 h 3034161"/>
                <a:gd name="connsiteX1" fmla="*/ 26403 w 2144851"/>
                <a:gd name="connsiteY1" fmla="*/ 1581 h 3034161"/>
                <a:gd name="connsiteX2" fmla="*/ 210889 w 2144851"/>
                <a:gd name="connsiteY2" fmla="*/ 0 h 3034161"/>
                <a:gd name="connsiteX3" fmla="*/ 2118448 w 2144851"/>
                <a:gd name="connsiteY3" fmla="*/ 1581 h 3034161"/>
                <a:gd name="connsiteX4" fmla="*/ 2144851 w 2144851"/>
                <a:gd name="connsiteY4" fmla="*/ 27984 h 3034161"/>
                <a:gd name="connsiteX5" fmla="*/ 2144851 w 2144851"/>
                <a:gd name="connsiteY5" fmla="*/ 3007758 h 3034161"/>
                <a:gd name="connsiteX6" fmla="*/ 2118448 w 2144851"/>
                <a:gd name="connsiteY6" fmla="*/ 3034161 h 3034161"/>
                <a:gd name="connsiteX7" fmla="*/ 26403 w 2144851"/>
                <a:gd name="connsiteY7" fmla="*/ 3034161 h 3034161"/>
                <a:gd name="connsiteX8" fmla="*/ 0 w 2144851"/>
                <a:gd name="connsiteY8" fmla="*/ 3007758 h 3034161"/>
                <a:gd name="connsiteX9" fmla="*/ 0 w 2144851"/>
                <a:gd name="connsiteY9" fmla="*/ 27984 h 3034161"/>
                <a:gd name="connsiteX0" fmla="*/ 0 w 2144851"/>
                <a:gd name="connsiteY0" fmla="*/ 27984 h 3034161"/>
                <a:gd name="connsiteX1" fmla="*/ 26403 w 2144851"/>
                <a:gd name="connsiteY1" fmla="*/ 1581 h 3034161"/>
                <a:gd name="connsiteX2" fmla="*/ 210889 w 2144851"/>
                <a:gd name="connsiteY2" fmla="*/ 0 h 3034161"/>
                <a:gd name="connsiteX3" fmla="*/ 256419 w 2144851"/>
                <a:gd name="connsiteY3" fmla="*/ 1 h 3034161"/>
                <a:gd name="connsiteX4" fmla="*/ 2118448 w 2144851"/>
                <a:gd name="connsiteY4" fmla="*/ 1581 h 3034161"/>
                <a:gd name="connsiteX5" fmla="*/ 2144851 w 2144851"/>
                <a:gd name="connsiteY5" fmla="*/ 27984 h 3034161"/>
                <a:gd name="connsiteX6" fmla="*/ 2144851 w 2144851"/>
                <a:gd name="connsiteY6" fmla="*/ 3007758 h 3034161"/>
                <a:gd name="connsiteX7" fmla="*/ 2118448 w 2144851"/>
                <a:gd name="connsiteY7" fmla="*/ 3034161 h 3034161"/>
                <a:gd name="connsiteX8" fmla="*/ 26403 w 2144851"/>
                <a:gd name="connsiteY8" fmla="*/ 3034161 h 3034161"/>
                <a:gd name="connsiteX9" fmla="*/ 0 w 2144851"/>
                <a:gd name="connsiteY9" fmla="*/ 3007758 h 3034161"/>
                <a:gd name="connsiteX10" fmla="*/ 0 w 2144851"/>
                <a:gd name="connsiteY10" fmla="*/ 27984 h 3034161"/>
                <a:gd name="connsiteX0" fmla="*/ 0 w 2144851"/>
                <a:gd name="connsiteY0" fmla="*/ 27984 h 3034161"/>
                <a:gd name="connsiteX1" fmla="*/ 26403 w 2144851"/>
                <a:gd name="connsiteY1" fmla="*/ 1581 h 3034161"/>
                <a:gd name="connsiteX2" fmla="*/ 210889 w 2144851"/>
                <a:gd name="connsiteY2" fmla="*/ 0 h 3034161"/>
                <a:gd name="connsiteX3" fmla="*/ 256419 w 2144851"/>
                <a:gd name="connsiteY3" fmla="*/ 1 h 3034161"/>
                <a:gd name="connsiteX4" fmla="*/ 298155 w 2144851"/>
                <a:gd name="connsiteY4" fmla="*/ 1 h 3034161"/>
                <a:gd name="connsiteX5" fmla="*/ 2118448 w 2144851"/>
                <a:gd name="connsiteY5" fmla="*/ 1581 h 3034161"/>
                <a:gd name="connsiteX6" fmla="*/ 2144851 w 2144851"/>
                <a:gd name="connsiteY6" fmla="*/ 27984 h 3034161"/>
                <a:gd name="connsiteX7" fmla="*/ 2144851 w 2144851"/>
                <a:gd name="connsiteY7" fmla="*/ 3007758 h 3034161"/>
                <a:gd name="connsiteX8" fmla="*/ 2118448 w 2144851"/>
                <a:gd name="connsiteY8" fmla="*/ 3034161 h 3034161"/>
                <a:gd name="connsiteX9" fmla="*/ 26403 w 2144851"/>
                <a:gd name="connsiteY9" fmla="*/ 3034161 h 3034161"/>
                <a:gd name="connsiteX10" fmla="*/ 0 w 2144851"/>
                <a:gd name="connsiteY10" fmla="*/ 3007758 h 3034161"/>
                <a:gd name="connsiteX11" fmla="*/ 0 w 2144851"/>
                <a:gd name="connsiteY11" fmla="*/ 27984 h 3034161"/>
                <a:gd name="connsiteX0" fmla="*/ 0 w 2144851"/>
                <a:gd name="connsiteY0" fmla="*/ 81102 h 3087279"/>
                <a:gd name="connsiteX1" fmla="*/ 26403 w 2144851"/>
                <a:gd name="connsiteY1" fmla="*/ 54699 h 3087279"/>
                <a:gd name="connsiteX2" fmla="*/ 210889 w 2144851"/>
                <a:gd name="connsiteY2" fmla="*/ 53118 h 3087279"/>
                <a:gd name="connsiteX3" fmla="*/ 256419 w 2144851"/>
                <a:gd name="connsiteY3" fmla="*/ 0 h 3087279"/>
                <a:gd name="connsiteX4" fmla="*/ 298155 w 2144851"/>
                <a:gd name="connsiteY4" fmla="*/ 53119 h 3087279"/>
                <a:gd name="connsiteX5" fmla="*/ 2118448 w 2144851"/>
                <a:gd name="connsiteY5" fmla="*/ 54699 h 3087279"/>
                <a:gd name="connsiteX6" fmla="*/ 2144851 w 2144851"/>
                <a:gd name="connsiteY6" fmla="*/ 81102 h 3087279"/>
                <a:gd name="connsiteX7" fmla="*/ 2144851 w 2144851"/>
                <a:gd name="connsiteY7" fmla="*/ 3060876 h 3087279"/>
                <a:gd name="connsiteX8" fmla="*/ 2118448 w 2144851"/>
                <a:gd name="connsiteY8" fmla="*/ 3087279 h 3087279"/>
                <a:gd name="connsiteX9" fmla="*/ 26403 w 2144851"/>
                <a:gd name="connsiteY9" fmla="*/ 3087279 h 3087279"/>
                <a:gd name="connsiteX10" fmla="*/ 0 w 2144851"/>
                <a:gd name="connsiteY10" fmla="*/ 3060876 h 3087279"/>
                <a:gd name="connsiteX11" fmla="*/ 0 w 2144851"/>
                <a:gd name="connsiteY11" fmla="*/ 81102 h 3087279"/>
                <a:gd name="connsiteX0" fmla="*/ 0 w 2144851"/>
                <a:gd name="connsiteY0" fmla="*/ 81102 h 3087279"/>
                <a:gd name="connsiteX1" fmla="*/ 26403 w 2144851"/>
                <a:gd name="connsiteY1" fmla="*/ 54699 h 3087279"/>
                <a:gd name="connsiteX2" fmla="*/ 210889 w 2144851"/>
                <a:gd name="connsiteY2" fmla="*/ 53118 h 3087279"/>
                <a:gd name="connsiteX3" fmla="*/ 256419 w 2144851"/>
                <a:gd name="connsiteY3" fmla="*/ 0 h 3087279"/>
                <a:gd name="connsiteX4" fmla="*/ 358862 w 2144851"/>
                <a:gd name="connsiteY4" fmla="*/ 53119 h 3087279"/>
                <a:gd name="connsiteX5" fmla="*/ 2118448 w 2144851"/>
                <a:gd name="connsiteY5" fmla="*/ 54699 h 3087279"/>
                <a:gd name="connsiteX6" fmla="*/ 2144851 w 2144851"/>
                <a:gd name="connsiteY6" fmla="*/ 81102 h 3087279"/>
                <a:gd name="connsiteX7" fmla="*/ 2144851 w 2144851"/>
                <a:gd name="connsiteY7" fmla="*/ 3060876 h 3087279"/>
                <a:gd name="connsiteX8" fmla="*/ 2118448 w 2144851"/>
                <a:gd name="connsiteY8" fmla="*/ 3087279 h 3087279"/>
                <a:gd name="connsiteX9" fmla="*/ 26403 w 2144851"/>
                <a:gd name="connsiteY9" fmla="*/ 3087279 h 3087279"/>
                <a:gd name="connsiteX10" fmla="*/ 0 w 2144851"/>
                <a:gd name="connsiteY10" fmla="*/ 3060876 h 3087279"/>
                <a:gd name="connsiteX11" fmla="*/ 0 w 2144851"/>
                <a:gd name="connsiteY11" fmla="*/ 81102 h 3087279"/>
                <a:gd name="connsiteX0" fmla="*/ 0 w 2144851"/>
                <a:gd name="connsiteY0" fmla="*/ 111455 h 3117632"/>
                <a:gd name="connsiteX1" fmla="*/ 26403 w 2144851"/>
                <a:gd name="connsiteY1" fmla="*/ 85052 h 3117632"/>
                <a:gd name="connsiteX2" fmla="*/ 210889 w 2144851"/>
                <a:gd name="connsiteY2" fmla="*/ 83471 h 3117632"/>
                <a:gd name="connsiteX3" fmla="*/ 301949 w 2144851"/>
                <a:gd name="connsiteY3" fmla="*/ 0 h 3117632"/>
                <a:gd name="connsiteX4" fmla="*/ 358862 w 2144851"/>
                <a:gd name="connsiteY4" fmla="*/ 83472 h 3117632"/>
                <a:gd name="connsiteX5" fmla="*/ 2118448 w 2144851"/>
                <a:gd name="connsiteY5" fmla="*/ 85052 h 3117632"/>
                <a:gd name="connsiteX6" fmla="*/ 2144851 w 2144851"/>
                <a:gd name="connsiteY6" fmla="*/ 111455 h 3117632"/>
                <a:gd name="connsiteX7" fmla="*/ 2144851 w 2144851"/>
                <a:gd name="connsiteY7" fmla="*/ 3091229 h 3117632"/>
                <a:gd name="connsiteX8" fmla="*/ 2118448 w 2144851"/>
                <a:gd name="connsiteY8" fmla="*/ 3117632 h 3117632"/>
                <a:gd name="connsiteX9" fmla="*/ 26403 w 2144851"/>
                <a:gd name="connsiteY9" fmla="*/ 3117632 h 3117632"/>
                <a:gd name="connsiteX10" fmla="*/ 0 w 2144851"/>
                <a:gd name="connsiteY10" fmla="*/ 3091229 h 3117632"/>
                <a:gd name="connsiteX11" fmla="*/ 0 w 2144851"/>
                <a:gd name="connsiteY11" fmla="*/ 111455 h 3117632"/>
                <a:gd name="connsiteX0" fmla="*/ 0 w 2144851"/>
                <a:gd name="connsiteY0" fmla="*/ 122838 h 3129015"/>
                <a:gd name="connsiteX1" fmla="*/ 26403 w 2144851"/>
                <a:gd name="connsiteY1" fmla="*/ 96435 h 3129015"/>
                <a:gd name="connsiteX2" fmla="*/ 210889 w 2144851"/>
                <a:gd name="connsiteY2" fmla="*/ 94854 h 3129015"/>
                <a:gd name="connsiteX3" fmla="*/ 286772 w 2144851"/>
                <a:gd name="connsiteY3" fmla="*/ 0 h 3129015"/>
                <a:gd name="connsiteX4" fmla="*/ 358862 w 2144851"/>
                <a:gd name="connsiteY4" fmla="*/ 94855 h 3129015"/>
                <a:gd name="connsiteX5" fmla="*/ 2118448 w 2144851"/>
                <a:gd name="connsiteY5" fmla="*/ 96435 h 3129015"/>
                <a:gd name="connsiteX6" fmla="*/ 2144851 w 2144851"/>
                <a:gd name="connsiteY6" fmla="*/ 122838 h 3129015"/>
                <a:gd name="connsiteX7" fmla="*/ 2144851 w 2144851"/>
                <a:gd name="connsiteY7" fmla="*/ 3102612 h 3129015"/>
                <a:gd name="connsiteX8" fmla="*/ 2118448 w 2144851"/>
                <a:gd name="connsiteY8" fmla="*/ 3129015 h 3129015"/>
                <a:gd name="connsiteX9" fmla="*/ 26403 w 2144851"/>
                <a:gd name="connsiteY9" fmla="*/ 3129015 h 3129015"/>
                <a:gd name="connsiteX10" fmla="*/ 0 w 2144851"/>
                <a:gd name="connsiteY10" fmla="*/ 3102612 h 3129015"/>
                <a:gd name="connsiteX11" fmla="*/ 0 w 2144851"/>
                <a:gd name="connsiteY11" fmla="*/ 122838 h 3129015"/>
                <a:gd name="connsiteX0" fmla="*/ 0 w 2144851"/>
                <a:gd name="connsiteY0" fmla="*/ 107661 h 3113838"/>
                <a:gd name="connsiteX1" fmla="*/ 26403 w 2144851"/>
                <a:gd name="connsiteY1" fmla="*/ 81258 h 3113838"/>
                <a:gd name="connsiteX2" fmla="*/ 210889 w 2144851"/>
                <a:gd name="connsiteY2" fmla="*/ 79677 h 3113838"/>
                <a:gd name="connsiteX3" fmla="*/ 286772 w 2144851"/>
                <a:gd name="connsiteY3" fmla="*/ 0 h 3113838"/>
                <a:gd name="connsiteX4" fmla="*/ 358862 w 2144851"/>
                <a:gd name="connsiteY4" fmla="*/ 79678 h 3113838"/>
                <a:gd name="connsiteX5" fmla="*/ 2118448 w 2144851"/>
                <a:gd name="connsiteY5" fmla="*/ 81258 h 3113838"/>
                <a:gd name="connsiteX6" fmla="*/ 2144851 w 2144851"/>
                <a:gd name="connsiteY6" fmla="*/ 107661 h 3113838"/>
                <a:gd name="connsiteX7" fmla="*/ 2144851 w 2144851"/>
                <a:gd name="connsiteY7" fmla="*/ 3087435 h 3113838"/>
                <a:gd name="connsiteX8" fmla="*/ 2118448 w 2144851"/>
                <a:gd name="connsiteY8" fmla="*/ 3113838 h 3113838"/>
                <a:gd name="connsiteX9" fmla="*/ 26403 w 2144851"/>
                <a:gd name="connsiteY9" fmla="*/ 3113838 h 3113838"/>
                <a:gd name="connsiteX10" fmla="*/ 0 w 2144851"/>
                <a:gd name="connsiteY10" fmla="*/ 3087435 h 3113838"/>
                <a:gd name="connsiteX11" fmla="*/ 0 w 2144851"/>
                <a:gd name="connsiteY11" fmla="*/ 107661 h 3113838"/>
                <a:gd name="connsiteX0" fmla="*/ 0 w 2144851"/>
                <a:gd name="connsiteY0" fmla="*/ 107661 h 3113838"/>
                <a:gd name="connsiteX1" fmla="*/ 26403 w 2144851"/>
                <a:gd name="connsiteY1" fmla="*/ 81258 h 3113838"/>
                <a:gd name="connsiteX2" fmla="*/ 210889 w 2144851"/>
                <a:gd name="connsiteY2" fmla="*/ 79677 h 3113838"/>
                <a:gd name="connsiteX3" fmla="*/ 286772 w 2144851"/>
                <a:gd name="connsiteY3" fmla="*/ 0 h 3113838"/>
                <a:gd name="connsiteX4" fmla="*/ 388123 w 2144851"/>
                <a:gd name="connsiteY4" fmla="*/ 79678 h 3113838"/>
                <a:gd name="connsiteX5" fmla="*/ 2118448 w 2144851"/>
                <a:gd name="connsiteY5" fmla="*/ 81258 h 3113838"/>
                <a:gd name="connsiteX6" fmla="*/ 2144851 w 2144851"/>
                <a:gd name="connsiteY6" fmla="*/ 107661 h 3113838"/>
                <a:gd name="connsiteX7" fmla="*/ 2144851 w 2144851"/>
                <a:gd name="connsiteY7" fmla="*/ 3087435 h 3113838"/>
                <a:gd name="connsiteX8" fmla="*/ 2118448 w 2144851"/>
                <a:gd name="connsiteY8" fmla="*/ 3113838 h 3113838"/>
                <a:gd name="connsiteX9" fmla="*/ 26403 w 2144851"/>
                <a:gd name="connsiteY9" fmla="*/ 3113838 h 3113838"/>
                <a:gd name="connsiteX10" fmla="*/ 0 w 2144851"/>
                <a:gd name="connsiteY10" fmla="*/ 3087435 h 3113838"/>
                <a:gd name="connsiteX11" fmla="*/ 0 w 2144851"/>
                <a:gd name="connsiteY11" fmla="*/ 107661 h 3113838"/>
                <a:gd name="connsiteX0" fmla="*/ 0 w 2144851"/>
                <a:gd name="connsiteY0" fmla="*/ 104003 h 3110180"/>
                <a:gd name="connsiteX1" fmla="*/ 26403 w 2144851"/>
                <a:gd name="connsiteY1" fmla="*/ 77600 h 3110180"/>
                <a:gd name="connsiteX2" fmla="*/ 210889 w 2144851"/>
                <a:gd name="connsiteY2" fmla="*/ 76019 h 3110180"/>
                <a:gd name="connsiteX3" fmla="*/ 301402 w 2144851"/>
                <a:gd name="connsiteY3" fmla="*/ 0 h 3110180"/>
                <a:gd name="connsiteX4" fmla="*/ 388123 w 2144851"/>
                <a:gd name="connsiteY4" fmla="*/ 76020 h 3110180"/>
                <a:gd name="connsiteX5" fmla="*/ 2118448 w 2144851"/>
                <a:gd name="connsiteY5" fmla="*/ 77600 h 3110180"/>
                <a:gd name="connsiteX6" fmla="*/ 2144851 w 2144851"/>
                <a:gd name="connsiteY6" fmla="*/ 104003 h 3110180"/>
                <a:gd name="connsiteX7" fmla="*/ 2144851 w 2144851"/>
                <a:gd name="connsiteY7" fmla="*/ 3083777 h 3110180"/>
                <a:gd name="connsiteX8" fmla="*/ 2118448 w 2144851"/>
                <a:gd name="connsiteY8" fmla="*/ 3110180 h 3110180"/>
                <a:gd name="connsiteX9" fmla="*/ 26403 w 2144851"/>
                <a:gd name="connsiteY9" fmla="*/ 3110180 h 3110180"/>
                <a:gd name="connsiteX10" fmla="*/ 0 w 2144851"/>
                <a:gd name="connsiteY10" fmla="*/ 3083777 h 3110180"/>
                <a:gd name="connsiteX11" fmla="*/ 0 w 2144851"/>
                <a:gd name="connsiteY11" fmla="*/ 104003 h 3110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44851" h="3110180">
                  <a:moveTo>
                    <a:pt x="0" y="104003"/>
                  </a:moveTo>
                  <a:cubicBezTo>
                    <a:pt x="0" y="89421"/>
                    <a:pt x="11821" y="77600"/>
                    <a:pt x="26403" y="77600"/>
                  </a:cubicBezTo>
                  <a:lnTo>
                    <a:pt x="210889" y="76019"/>
                  </a:lnTo>
                  <a:lnTo>
                    <a:pt x="301402" y="0"/>
                  </a:lnTo>
                  <a:lnTo>
                    <a:pt x="388123" y="76020"/>
                  </a:lnTo>
                  <a:lnTo>
                    <a:pt x="2118448" y="77600"/>
                  </a:lnTo>
                  <a:cubicBezTo>
                    <a:pt x="2133030" y="77600"/>
                    <a:pt x="2144851" y="89421"/>
                    <a:pt x="2144851" y="104003"/>
                  </a:cubicBezTo>
                  <a:lnTo>
                    <a:pt x="2144851" y="3083777"/>
                  </a:lnTo>
                  <a:cubicBezTo>
                    <a:pt x="2144851" y="3098359"/>
                    <a:pt x="2133030" y="3110180"/>
                    <a:pt x="2118448" y="3110180"/>
                  </a:cubicBezTo>
                  <a:lnTo>
                    <a:pt x="26403" y="3110180"/>
                  </a:lnTo>
                  <a:cubicBezTo>
                    <a:pt x="11821" y="3110180"/>
                    <a:pt x="0" y="3098359"/>
                    <a:pt x="0" y="3083777"/>
                  </a:cubicBezTo>
                  <a:lnTo>
                    <a:pt x="0" y="104003"/>
                  </a:lnTo>
                  <a:close/>
                </a:path>
              </a:pathLst>
            </a:custGeom>
            <a:solidFill>
              <a:schemeClr val="bg1"/>
            </a:solidFill>
            <a:ln>
              <a:noFill/>
            </a:ln>
            <a:effectLst>
              <a:outerShdw blurRad="38100" dist="127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itle 3">
              <a:extLst>
                <a:ext uri="{FF2B5EF4-FFF2-40B4-BE49-F238E27FC236}">
                  <a16:creationId xmlns:a16="http://schemas.microsoft.com/office/drawing/2014/main" id="{AF8D188E-C61F-49B7-AF3C-A31ECBDF88A0}"/>
                </a:ext>
              </a:extLst>
            </p:cNvPr>
            <p:cNvSpPr txBox="1">
              <a:spLocks/>
            </p:cNvSpPr>
            <p:nvPr/>
          </p:nvSpPr>
          <p:spPr>
            <a:xfrm>
              <a:off x="1387720" y="3382778"/>
              <a:ext cx="2010800" cy="315146"/>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rPr lang="en-US" sz="1400" b="0">
                  <a:latin typeface="Roboto Medium" charset="0"/>
                  <a:ea typeface="Roboto Medium" charset="0"/>
                  <a:cs typeface="Roboto Medium" charset="0"/>
                </a:rPr>
                <a:t>What to leave out</a:t>
              </a:r>
              <a:endParaRPr lang="en-US" sz="700" b="0">
                <a:latin typeface="Roboto Medium" charset="0"/>
                <a:ea typeface="Roboto Medium" charset="0"/>
                <a:cs typeface="Roboto Medium" charset="0"/>
              </a:endParaRPr>
            </a:p>
          </p:txBody>
        </p:sp>
        <p:sp>
          <p:nvSpPr>
            <p:cNvPr id="31" name="Rectangle 30">
              <a:extLst>
                <a:ext uri="{FF2B5EF4-FFF2-40B4-BE49-F238E27FC236}">
                  <a16:creationId xmlns:a16="http://schemas.microsoft.com/office/drawing/2014/main" id="{FDB98CFF-F5D4-48A2-8C85-D0D0808B3F73}"/>
                </a:ext>
              </a:extLst>
            </p:cNvPr>
            <p:cNvSpPr/>
            <p:nvPr/>
          </p:nvSpPr>
          <p:spPr>
            <a:xfrm>
              <a:off x="1356791" y="2956071"/>
              <a:ext cx="402457" cy="338554"/>
            </a:xfrm>
            <a:prstGeom prst="rect">
              <a:avLst/>
            </a:prstGeom>
          </p:spPr>
          <p:txBody>
            <a:bodyPr wrap="square">
              <a:spAutoFit/>
            </a:bodyPr>
            <a:lstStyle/>
            <a:p>
              <a:pPr algn="ctr"/>
              <a:r>
                <a:rPr lang="en-US" sz="1600" b="1">
                  <a:solidFill>
                    <a:srgbClr val="00B0F0"/>
                  </a:solidFill>
                  <a:latin typeface="linea-arrows-10" charset="0"/>
                  <a:ea typeface="linea-arrows-10" charset="0"/>
                  <a:cs typeface="linea-arrows-10" charset="0"/>
                  <a:sym typeface="Wingdings" panose="05000000000000000000" pitchFamily="2" charset="2"/>
                </a:rPr>
                <a:t></a:t>
              </a:r>
              <a:endParaRPr lang="en-US" sz="1600" b="1">
                <a:solidFill>
                  <a:srgbClr val="00B0F0"/>
                </a:solidFill>
              </a:endParaRPr>
            </a:p>
          </p:txBody>
        </p:sp>
      </p:grpSp>
      <p:grpSp>
        <p:nvGrpSpPr>
          <p:cNvPr id="32" name="Group 31">
            <a:extLst>
              <a:ext uri="{FF2B5EF4-FFF2-40B4-BE49-F238E27FC236}">
                <a16:creationId xmlns:a16="http://schemas.microsoft.com/office/drawing/2014/main" id="{2594A171-8234-410C-954D-FF8861E586CE}"/>
              </a:ext>
            </a:extLst>
          </p:cNvPr>
          <p:cNvGrpSpPr/>
          <p:nvPr/>
        </p:nvGrpSpPr>
        <p:grpSpPr>
          <a:xfrm>
            <a:off x="8085423" y="2887040"/>
            <a:ext cx="1552003" cy="3200708"/>
            <a:chOff x="1253669" y="2956071"/>
            <a:chExt cx="2144851" cy="3200708"/>
          </a:xfrm>
        </p:grpSpPr>
        <p:sp>
          <p:nvSpPr>
            <p:cNvPr id="33" name="Rounded Rectangle 5">
              <a:extLst>
                <a:ext uri="{FF2B5EF4-FFF2-40B4-BE49-F238E27FC236}">
                  <a16:creationId xmlns:a16="http://schemas.microsoft.com/office/drawing/2014/main" id="{73BD739E-6D69-4B89-97BE-A63A3515EE40}"/>
                </a:ext>
              </a:extLst>
            </p:cNvPr>
            <p:cNvSpPr/>
            <p:nvPr/>
          </p:nvSpPr>
          <p:spPr>
            <a:xfrm>
              <a:off x="1253669" y="3046599"/>
              <a:ext cx="2144851" cy="3110180"/>
            </a:xfrm>
            <a:custGeom>
              <a:avLst/>
              <a:gdLst>
                <a:gd name="connsiteX0" fmla="*/ 0 w 2144851"/>
                <a:gd name="connsiteY0" fmla="*/ 26403 h 3032580"/>
                <a:gd name="connsiteX1" fmla="*/ 26403 w 2144851"/>
                <a:gd name="connsiteY1" fmla="*/ 0 h 3032580"/>
                <a:gd name="connsiteX2" fmla="*/ 2118448 w 2144851"/>
                <a:gd name="connsiteY2" fmla="*/ 0 h 3032580"/>
                <a:gd name="connsiteX3" fmla="*/ 2144851 w 2144851"/>
                <a:gd name="connsiteY3" fmla="*/ 26403 h 3032580"/>
                <a:gd name="connsiteX4" fmla="*/ 2144851 w 2144851"/>
                <a:gd name="connsiteY4" fmla="*/ 3006177 h 3032580"/>
                <a:gd name="connsiteX5" fmla="*/ 2118448 w 2144851"/>
                <a:gd name="connsiteY5" fmla="*/ 3032580 h 3032580"/>
                <a:gd name="connsiteX6" fmla="*/ 26403 w 2144851"/>
                <a:gd name="connsiteY6" fmla="*/ 3032580 h 3032580"/>
                <a:gd name="connsiteX7" fmla="*/ 0 w 2144851"/>
                <a:gd name="connsiteY7" fmla="*/ 3006177 h 3032580"/>
                <a:gd name="connsiteX8" fmla="*/ 0 w 2144851"/>
                <a:gd name="connsiteY8" fmla="*/ 26403 h 3032580"/>
                <a:gd name="connsiteX0" fmla="*/ 0 w 2144851"/>
                <a:gd name="connsiteY0" fmla="*/ 27984 h 3034161"/>
                <a:gd name="connsiteX1" fmla="*/ 26403 w 2144851"/>
                <a:gd name="connsiteY1" fmla="*/ 1581 h 3034161"/>
                <a:gd name="connsiteX2" fmla="*/ 210889 w 2144851"/>
                <a:gd name="connsiteY2" fmla="*/ 0 h 3034161"/>
                <a:gd name="connsiteX3" fmla="*/ 2118448 w 2144851"/>
                <a:gd name="connsiteY3" fmla="*/ 1581 h 3034161"/>
                <a:gd name="connsiteX4" fmla="*/ 2144851 w 2144851"/>
                <a:gd name="connsiteY4" fmla="*/ 27984 h 3034161"/>
                <a:gd name="connsiteX5" fmla="*/ 2144851 w 2144851"/>
                <a:gd name="connsiteY5" fmla="*/ 3007758 h 3034161"/>
                <a:gd name="connsiteX6" fmla="*/ 2118448 w 2144851"/>
                <a:gd name="connsiteY6" fmla="*/ 3034161 h 3034161"/>
                <a:gd name="connsiteX7" fmla="*/ 26403 w 2144851"/>
                <a:gd name="connsiteY7" fmla="*/ 3034161 h 3034161"/>
                <a:gd name="connsiteX8" fmla="*/ 0 w 2144851"/>
                <a:gd name="connsiteY8" fmla="*/ 3007758 h 3034161"/>
                <a:gd name="connsiteX9" fmla="*/ 0 w 2144851"/>
                <a:gd name="connsiteY9" fmla="*/ 27984 h 3034161"/>
                <a:gd name="connsiteX0" fmla="*/ 0 w 2144851"/>
                <a:gd name="connsiteY0" fmla="*/ 27984 h 3034161"/>
                <a:gd name="connsiteX1" fmla="*/ 26403 w 2144851"/>
                <a:gd name="connsiteY1" fmla="*/ 1581 h 3034161"/>
                <a:gd name="connsiteX2" fmla="*/ 210889 w 2144851"/>
                <a:gd name="connsiteY2" fmla="*/ 0 h 3034161"/>
                <a:gd name="connsiteX3" fmla="*/ 256419 w 2144851"/>
                <a:gd name="connsiteY3" fmla="*/ 1 h 3034161"/>
                <a:gd name="connsiteX4" fmla="*/ 2118448 w 2144851"/>
                <a:gd name="connsiteY4" fmla="*/ 1581 h 3034161"/>
                <a:gd name="connsiteX5" fmla="*/ 2144851 w 2144851"/>
                <a:gd name="connsiteY5" fmla="*/ 27984 h 3034161"/>
                <a:gd name="connsiteX6" fmla="*/ 2144851 w 2144851"/>
                <a:gd name="connsiteY6" fmla="*/ 3007758 h 3034161"/>
                <a:gd name="connsiteX7" fmla="*/ 2118448 w 2144851"/>
                <a:gd name="connsiteY7" fmla="*/ 3034161 h 3034161"/>
                <a:gd name="connsiteX8" fmla="*/ 26403 w 2144851"/>
                <a:gd name="connsiteY8" fmla="*/ 3034161 h 3034161"/>
                <a:gd name="connsiteX9" fmla="*/ 0 w 2144851"/>
                <a:gd name="connsiteY9" fmla="*/ 3007758 h 3034161"/>
                <a:gd name="connsiteX10" fmla="*/ 0 w 2144851"/>
                <a:gd name="connsiteY10" fmla="*/ 27984 h 3034161"/>
                <a:gd name="connsiteX0" fmla="*/ 0 w 2144851"/>
                <a:gd name="connsiteY0" fmla="*/ 27984 h 3034161"/>
                <a:gd name="connsiteX1" fmla="*/ 26403 w 2144851"/>
                <a:gd name="connsiteY1" fmla="*/ 1581 h 3034161"/>
                <a:gd name="connsiteX2" fmla="*/ 210889 w 2144851"/>
                <a:gd name="connsiteY2" fmla="*/ 0 h 3034161"/>
                <a:gd name="connsiteX3" fmla="*/ 256419 w 2144851"/>
                <a:gd name="connsiteY3" fmla="*/ 1 h 3034161"/>
                <a:gd name="connsiteX4" fmla="*/ 298155 w 2144851"/>
                <a:gd name="connsiteY4" fmla="*/ 1 h 3034161"/>
                <a:gd name="connsiteX5" fmla="*/ 2118448 w 2144851"/>
                <a:gd name="connsiteY5" fmla="*/ 1581 h 3034161"/>
                <a:gd name="connsiteX6" fmla="*/ 2144851 w 2144851"/>
                <a:gd name="connsiteY6" fmla="*/ 27984 h 3034161"/>
                <a:gd name="connsiteX7" fmla="*/ 2144851 w 2144851"/>
                <a:gd name="connsiteY7" fmla="*/ 3007758 h 3034161"/>
                <a:gd name="connsiteX8" fmla="*/ 2118448 w 2144851"/>
                <a:gd name="connsiteY8" fmla="*/ 3034161 h 3034161"/>
                <a:gd name="connsiteX9" fmla="*/ 26403 w 2144851"/>
                <a:gd name="connsiteY9" fmla="*/ 3034161 h 3034161"/>
                <a:gd name="connsiteX10" fmla="*/ 0 w 2144851"/>
                <a:gd name="connsiteY10" fmla="*/ 3007758 h 3034161"/>
                <a:gd name="connsiteX11" fmla="*/ 0 w 2144851"/>
                <a:gd name="connsiteY11" fmla="*/ 27984 h 3034161"/>
                <a:gd name="connsiteX0" fmla="*/ 0 w 2144851"/>
                <a:gd name="connsiteY0" fmla="*/ 81102 h 3087279"/>
                <a:gd name="connsiteX1" fmla="*/ 26403 w 2144851"/>
                <a:gd name="connsiteY1" fmla="*/ 54699 h 3087279"/>
                <a:gd name="connsiteX2" fmla="*/ 210889 w 2144851"/>
                <a:gd name="connsiteY2" fmla="*/ 53118 h 3087279"/>
                <a:gd name="connsiteX3" fmla="*/ 256419 w 2144851"/>
                <a:gd name="connsiteY3" fmla="*/ 0 h 3087279"/>
                <a:gd name="connsiteX4" fmla="*/ 298155 w 2144851"/>
                <a:gd name="connsiteY4" fmla="*/ 53119 h 3087279"/>
                <a:gd name="connsiteX5" fmla="*/ 2118448 w 2144851"/>
                <a:gd name="connsiteY5" fmla="*/ 54699 h 3087279"/>
                <a:gd name="connsiteX6" fmla="*/ 2144851 w 2144851"/>
                <a:gd name="connsiteY6" fmla="*/ 81102 h 3087279"/>
                <a:gd name="connsiteX7" fmla="*/ 2144851 w 2144851"/>
                <a:gd name="connsiteY7" fmla="*/ 3060876 h 3087279"/>
                <a:gd name="connsiteX8" fmla="*/ 2118448 w 2144851"/>
                <a:gd name="connsiteY8" fmla="*/ 3087279 h 3087279"/>
                <a:gd name="connsiteX9" fmla="*/ 26403 w 2144851"/>
                <a:gd name="connsiteY9" fmla="*/ 3087279 h 3087279"/>
                <a:gd name="connsiteX10" fmla="*/ 0 w 2144851"/>
                <a:gd name="connsiteY10" fmla="*/ 3060876 h 3087279"/>
                <a:gd name="connsiteX11" fmla="*/ 0 w 2144851"/>
                <a:gd name="connsiteY11" fmla="*/ 81102 h 3087279"/>
                <a:gd name="connsiteX0" fmla="*/ 0 w 2144851"/>
                <a:gd name="connsiteY0" fmla="*/ 81102 h 3087279"/>
                <a:gd name="connsiteX1" fmla="*/ 26403 w 2144851"/>
                <a:gd name="connsiteY1" fmla="*/ 54699 h 3087279"/>
                <a:gd name="connsiteX2" fmla="*/ 210889 w 2144851"/>
                <a:gd name="connsiteY2" fmla="*/ 53118 h 3087279"/>
                <a:gd name="connsiteX3" fmla="*/ 256419 w 2144851"/>
                <a:gd name="connsiteY3" fmla="*/ 0 h 3087279"/>
                <a:gd name="connsiteX4" fmla="*/ 358862 w 2144851"/>
                <a:gd name="connsiteY4" fmla="*/ 53119 h 3087279"/>
                <a:gd name="connsiteX5" fmla="*/ 2118448 w 2144851"/>
                <a:gd name="connsiteY5" fmla="*/ 54699 h 3087279"/>
                <a:gd name="connsiteX6" fmla="*/ 2144851 w 2144851"/>
                <a:gd name="connsiteY6" fmla="*/ 81102 h 3087279"/>
                <a:gd name="connsiteX7" fmla="*/ 2144851 w 2144851"/>
                <a:gd name="connsiteY7" fmla="*/ 3060876 h 3087279"/>
                <a:gd name="connsiteX8" fmla="*/ 2118448 w 2144851"/>
                <a:gd name="connsiteY8" fmla="*/ 3087279 h 3087279"/>
                <a:gd name="connsiteX9" fmla="*/ 26403 w 2144851"/>
                <a:gd name="connsiteY9" fmla="*/ 3087279 h 3087279"/>
                <a:gd name="connsiteX10" fmla="*/ 0 w 2144851"/>
                <a:gd name="connsiteY10" fmla="*/ 3060876 h 3087279"/>
                <a:gd name="connsiteX11" fmla="*/ 0 w 2144851"/>
                <a:gd name="connsiteY11" fmla="*/ 81102 h 3087279"/>
                <a:gd name="connsiteX0" fmla="*/ 0 w 2144851"/>
                <a:gd name="connsiteY0" fmla="*/ 111455 h 3117632"/>
                <a:gd name="connsiteX1" fmla="*/ 26403 w 2144851"/>
                <a:gd name="connsiteY1" fmla="*/ 85052 h 3117632"/>
                <a:gd name="connsiteX2" fmla="*/ 210889 w 2144851"/>
                <a:gd name="connsiteY2" fmla="*/ 83471 h 3117632"/>
                <a:gd name="connsiteX3" fmla="*/ 301949 w 2144851"/>
                <a:gd name="connsiteY3" fmla="*/ 0 h 3117632"/>
                <a:gd name="connsiteX4" fmla="*/ 358862 w 2144851"/>
                <a:gd name="connsiteY4" fmla="*/ 83472 h 3117632"/>
                <a:gd name="connsiteX5" fmla="*/ 2118448 w 2144851"/>
                <a:gd name="connsiteY5" fmla="*/ 85052 h 3117632"/>
                <a:gd name="connsiteX6" fmla="*/ 2144851 w 2144851"/>
                <a:gd name="connsiteY6" fmla="*/ 111455 h 3117632"/>
                <a:gd name="connsiteX7" fmla="*/ 2144851 w 2144851"/>
                <a:gd name="connsiteY7" fmla="*/ 3091229 h 3117632"/>
                <a:gd name="connsiteX8" fmla="*/ 2118448 w 2144851"/>
                <a:gd name="connsiteY8" fmla="*/ 3117632 h 3117632"/>
                <a:gd name="connsiteX9" fmla="*/ 26403 w 2144851"/>
                <a:gd name="connsiteY9" fmla="*/ 3117632 h 3117632"/>
                <a:gd name="connsiteX10" fmla="*/ 0 w 2144851"/>
                <a:gd name="connsiteY10" fmla="*/ 3091229 h 3117632"/>
                <a:gd name="connsiteX11" fmla="*/ 0 w 2144851"/>
                <a:gd name="connsiteY11" fmla="*/ 111455 h 3117632"/>
                <a:gd name="connsiteX0" fmla="*/ 0 w 2144851"/>
                <a:gd name="connsiteY0" fmla="*/ 122838 h 3129015"/>
                <a:gd name="connsiteX1" fmla="*/ 26403 w 2144851"/>
                <a:gd name="connsiteY1" fmla="*/ 96435 h 3129015"/>
                <a:gd name="connsiteX2" fmla="*/ 210889 w 2144851"/>
                <a:gd name="connsiteY2" fmla="*/ 94854 h 3129015"/>
                <a:gd name="connsiteX3" fmla="*/ 286772 w 2144851"/>
                <a:gd name="connsiteY3" fmla="*/ 0 h 3129015"/>
                <a:gd name="connsiteX4" fmla="*/ 358862 w 2144851"/>
                <a:gd name="connsiteY4" fmla="*/ 94855 h 3129015"/>
                <a:gd name="connsiteX5" fmla="*/ 2118448 w 2144851"/>
                <a:gd name="connsiteY5" fmla="*/ 96435 h 3129015"/>
                <a:gd name="connsiteX6" fmla="*/ 2144851 w 2144851"/>
                <a:gd name="connsiteY6" fmla="*/ 122838 h 3129015"/>
                <a:gd name="connsiteX7" fmla="*/ 2144851 w 2144851"/>
                <a:gd name="connsiteY7" fmla="*/ 3102612 h 3129015"/>
                <a:gd name="connsiteX8" fmla="*/ 2118448 w 2144851"/>
                <a:gd name="connsiteY8" fmla="*/ 3129015 h 3129015"/>
                <a:gd name="connsiteX9" fmla="*/ 26403 w 2144851"/>
                <a:gd name="connsiteY9" fmla="*/ 3129015 h 3129015"/>
                <a:gd name="connsiteX10" fmla="*/ 0 w 2144851"/>
                <a:gd name="connsiteY10" fmla="*/ 3102612 h 3129015"/>
                <a:gd name="connsiteX11" fmla="*/ 0 w 2144851"/>
                <a:gd name="connsiteY11" fmla="*/ 122838 h 3129015"/>
                <a:gd name="connsiteX0" fmla="*/ 0 w 2144851"/>
                <a:gd name="connsiteY0" fmla="*/ 107661 h 3113838"/>
                <a:gd name="connsiteX1" fmla="*/ 26403 w 2144851"/>
                <a:gd name="connsiteY1" fmla="*/ 81258 h 3113838"/>
                <a:gd name="connsiteX2" fmla="*/ 210889 w 2144851"/>
                <a:gd name="connsiteY2" fmla="*/ 79677 h 3113838"/>
                <a:gd name="connsiteX3" fmla="*/ 286772 w 2144851"/>
                <a:gd name="connsiteY3" fmla="*/ 0 h 3113838"/>
                <a:gd name="connsiteX4" fmla="*/ 358862 w 2144851"/>
                <a:gd name="connsiteY4" fmla="*/ 79678 h 3113838"/>
                <a:gd name="connsiteX5" fmla="*/ 2118448 w 2144851"/>
                <a:gd name="connsiteY5" fmla="*/ 81258 h 3113838"/>
                <a:gd name="connsiteX6" fmla="*/ 2144851 w 2144851"/>
                <a:gd name="connsiteY6" fmla="*/ 107661 h 3113838"/>
                <a:gd name="connsiteX7" fmla="*/ 2144851 w 2144851"/>
                <a:gd name="connsiteY7" fmla="*/ 3087435 h 3113838"/>
                <a:gd name="connsiteX8" fmla="*/ 2118448 w 2144851"/>
                <a:gd name="connsiteY8" fmla="*/ 3113838 h 3113838"/>
                <a:gd name="connsiteX9" fmla="*/ 26403 w 2144851"/>
                <a:gd name="connsiteY9" fmla="*/ 3113838 h 3113838"/>
                <a:gd name="connsiteX10" fmla="*/ 0 w 2144851"/>
                <a:gd name="connsiteY10" fmla="*/ 3087435 h 3113838"/>
                <a:gd name="connsiteX11" fmla="*/ 0 w 2144851"/>
                <a:gd name="connsiteY11" fmla="*/ 107661 h 3113838"/>
                <a:gd name="connsiteX0" fmla="*/ 0 w 2144851"/>
                <a:gd name="connsiteY0" fmla="*/ 107661 h 3113838"/>
                <a:gd name="connsiteX1" fmla="*/ 26403 w 2144851"/>
                <a:gd name="connsiteY1" fmla="*/ 81258 h 3113838"/>
                <a:gd name="connsiteX2" fmla="*/ 210889 w 2144851"/>
                <a:gd name="connsiteY2" fmla="*/ 79677 h 3113838"/>
                <a:gd name="connsiteX3" fmla="*/ 286772 w 2144851"/>
                <a:gd name="connsiteY3" fmla="*/ 0 h 3113838"/>
                <a:gd name="connsiteX4" fmla="*/ 388123 w 2144851"/>
                <a:gd name="connsiteY4" fmla="*/ 79678 h 3113838"/>
                <a:gd name="connsiteX5" fmla="*/ 2118448 w 2144851"/>
                <a:gd name="connsiteY5" fmla="*/ 81258 h 3113838"/>
                <a:gd name="connsiteX6" fmla="*/ 2144851 w 2144851"/>
                <a:gd name="connsiteY6" fmla="*/ 107661 h 3113838"/>
                <a:gd name="connsiteX7" fmla="*/ 2144851 w 2144851"/>
                <a:gd name="connsiteY7" fmla="*/ 3087435 h 3113838"/>
                <a:gd name="connsiteX8" fmla="*/ 2118448 w 2144851"/>
                <a:gd name="connsiteY8" fmla="*/ 3113838 h 3113838"/>
                <a:gd name="connsiteX9" fmla="*/ 26403 w 2144851"/>
                <a:gd name="connsiteY9" fmla="*/ 3113838 h 3113838"/>
                <a:gd name="connsiteX10" fmla="*/ 0 w 2144851"/>
                <a:gd name="connsiteY10" fmla="*/ 3087435 h 3113838"/>
                <a:gd name="connsiteX11" fmla="*/ 0 w 2144851"/>
                <a:gd name="connsiteY11" fmla="*/ 107661 h 3113838"/>
                <a:gd name="connsiteX0" fmla="*/ 0 w 2144851"/>
                <a:gd name="connsiteY0" fmla="*/ 104003 h 3110180"/>
                <a:gd name="connsiteX1" fmla="*/ 26403 w 2144851"/>
                <a:gd name="connsiteY1" fmla="*/ 77600 h 3110180"/>
                <a:gd name="connsiteX2" fmla="*/ 210889 w 2144851"/>
                <a:gd name="connsiteY2" fmla="*/ 76019 h 3110180"/>
                <a:gd name="connsiteX3" fmla="*/ 301402 w 2144851"/>
                <a:gd name="connsiteY3" fmla="*/ 0 h 3110180"/>
                <a:gd name="connsiteX4" fmla="*/ 388123 w 2144851"/>
                <a:gd name="connsiteY4" fmla="*/ 76020 h 3110180"/>
                <a:gd name="connsiteX5" fmla="*/ 2118448 w 2144851"/>
                <a:gd name="connsiteY5" fmla="*/ 77600 h 3110180"/>
                <a:gd name="connsiteX6" fmla="*/ 2144851 w 2144851"/>
                <a:gd name="connsiteY6" fmla="*/ 104003 h 3110180"/>
                <a:gd name="connsiteX7" fmla="*/ 2144851 w 2144851"/>
                <a:gd name="connsiteY7" fmla="*/ 3083777 h 3110180"/>
                <a:gd name="connsiteX8" fmla="*/ 2118448 w 2144851"/>
                <a:gd name="connsiteY8" fmla="*/ 3110180 h 3110180"/>
                <a:gd name="connsiteX9" fmla="*/ 26403 w 2144851"/>
                <a:gd name="connsiteY9" fmla="*/ 3110180 h 3110180"/>
                <a:gd name="connsiteX10" fmla="*/ 0 w 2144851"/>
                <a:gd name="connsiteY10" fmla="*/ 3083777 h 3110180"/>
                <a:gd name="connsiteX11" fmla="*/ 0 w 2144851"/>
                <a:gd name="connsiteY11" fmla="*/ 104003 h 3110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44851" h="3110180">
                  <a:moveTo>
                    <a:pt x="0" y="104003"/>
                  </a:moveTo>
                  <a:cubicBezTo>
                    <a:pt x="0" y="89421"/>
                    <a:pt x="11821" y="77600"/>
                    <a:pt x="26403" y="77600"/>
                  </a:cubicBezTo>
                  <a:lnTo>
                    <a:pt x="210889" y="76019"/>
                  </a:lnTo>
                  <a:lnTo>
                    <a:pt x="301402" y="0"/>
                  </a:lnTo>
                  <a:lnTo>
                    <a:pt x="388123" y="76020"/>
                  </a:lnTo>
                  <a:lnTo>
                    <a:pt x="2118448" y="77600"/>
                  </a:lnTo>
                  <a:cubicBezTo>
                    <a:pt x="2133030" y="77600"/>
                    <a:pt x="2144851" y="89421"/>
                    <a:pt x="2144851" y="104003"/>
                  </a:cubicBezTo>
                  <a:lnTo>
                    <a:pt x="2144851" y="3083777"/>
                  </a:lnTo>
                  <a:cubicBezTo>
                    <a:pt x="2144851" y="3098359"/>
                    <a:pt x="2133030" y="3110180"/>
                    <a:pt x="2118448" y="3110180"/>
                  </a:cubicBezTo>
                  <a:lnTo>
                    <a:pt x="26403" y="3110180"/>
                  </a:lnTo>
                  <a:cubicBezTo>
                    <a:pt x="11821" y="3110180"/>
                    <a:pt x="0" y="3098359"/>
                    <a:pt x="0" y="3083777"/>
                  </a:cubicBezTo>
                  <a:lnTo>
                    <a:pt x="0" y="104003"/>
                  </a:lnTo>
                  <a:close/>
                </a:path>
              </a:pathLst>
            </a:custGeom>
            <a:solidFill>
              <a:schemeClr val="bg1"/>
            </a:solidFill>
            <a:ln>
              <a:noFill/>
            </a:ln>
            <a:effectLst>
              <a:outerShdw blurRad="38100" dist="127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itle 3">
              <a:extLst>
                <a:ext uri="{FF2B5EF4-FFF2-40B4-BE49-F238E27FC236}">
                  <a16:creationId xmlns:a16="http://schemas.microsoft.com/office/drawing/2014/main" id="{1F7D7E76-05F6-4CBA-AD41-5034F4FAFA46}"/>
                </a:ext>
              </a:extLst>
            </p:cNvPr>
            <p:cNvSpPr txBox="1">
              <a:spLocks/>
            </p:cNvSpPr>
            <p:nvPr/>
          </p:nvSpPr>
          <p:spPr>
            <a:xfrm>
              <a:off x="1387720" y="3382778"/>
              <a:ext cx="2010800" cy="315146"/>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rPr lang="en-US" sz="1400" b="0">
                  <a:latin typeface="Roboto Medium" charset="0"/>
                  <a:ea typeface="Roboto Medium" charset="0"/>
                  <a:cs typeface="Roboto Medium" charset="0"/>
                </a:rPr>
                <a:t>Ranking</a:t>
              </a:r>
              <a:endParaRPr lang="en-US" sz="700" b="0">
                <a:latin typeface="Roboto Medium" charset="0"/>
                <a:ea typeface="Roboto Medium" charset="0"/>
                <a:cs typeface="Roboto Medium" charset="0"/>
              </a:endParaRPr>
            </a:p>
          </p:txBody>
        </p:sp>
        <p:sp>
          <p:nvSpPr>
            <p:cNvPr id="35" name="Rectangle 34">
              <a:extLst>
                <a:ext uri="{FF2B5EF4-FFF2-40B4-BE49-F238E27FC236}">
                  <a16:creationId xmlns:a16="http://schemas.microsoft.com/office/drawing/2014/main" id="{04018271-B4D2-4151-A9DB-B41E3591E069}"/>
                </a:ext>
              </a:extLst>
            </p:cNvPr>
            <p:cNvSpPr/>
            <p:nvPr/>
          </p:nvSpPr>
          <p:spPr>
            <a:xfrm>
              <a:off x="1356790" y="2956071"/>
              <a:ext cx="402457" cy="338554"/>
            </a:xfrm>
            <a:prstGeom prst="rect">
              <a:avLst/>
            </a:prstGeom>
          </p:spPr>
          <p:txBody>
            <a:bodyPr wrap="square">
              <a:spAutoFit/>
            </a:bodyPr>
            <a:lstStyle/>
            <a:p>
              <a:pPr algn="ctr"/>
              <a:r>
                <a:rPr lang="en-US" sz="1600" b="1">
                  <a:solidFill>
                    <a:schemeClr val="accent6"/>
                  </a:solidFill>
                  <a:latin typeface="linea-arrows-10" charset="0"/>
                  <a:ea typeface="linea-arrows-10" charset="0"/>
                  <a:cs typeface="linea-arrows-10" charset="0"/>
                  <a:sym typeface="Wingdings" panose="05000000000000000000" pitchFamily="2" charset="2"/>
                </a:rPr>
                <a:t></a:t>
              </a:r>
              <a:endParaRPr lang="en-US" sz="1600" b="1">
                <a:solidFill>
                  <a:schemeClr val="accent6"/>
                </a:solidFill>
              </a:endParaRPr>
            </a:p>
          </p:txBody>
        </p:sp>
      </p:grpSp>
      <p:sp>
        <p:nvSpPr>
          <p:cNvPr id="36" name="Title 3">
            <a:extLst>
              <a:ext uri="{FF2B5EF4-FFF2-40B4-BE49-F238E27FC236}">
                <a16:creationId xmlns:a16="http://schemas.microsoft.com/office/drawing/2014/main" id="{DA913F22-FAD0-435A-91CB-458EB7D6C176}"/>
              </a:ext>
            </a:extLst>
          </p:cNvPr>
          <p:cNvSpPr txBox="1">
            <a:spLocks/>
          </p:cNvSpPr>
          <p:nvPr/>
        </p:nvSpPr>
        <p:spPr>
          <a:xfrm>
            <a:off x="4475729" y="2304940"/>
            <a:ext cx="1618787" cy="380382"/>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rPr lang="en-US" sz="2400" b="0">
                <a:solidFill>
                  <a:schemeClr val="accent1"/>
                </a:solidFill>
                <a:latin typeface="Roboto Light" charset="0"/>
                <a:ea typeface="Roboto Light" charset="0"/>
                <a:cs typeface="Roboto Light" charset="0"/>
              </a:rPr>
              <a:t>Algorithm</a:t>
            </a:r>
            <a:endParaRPr lang="en-US" sz="1050" b="0">
              <a:solidFill>
                <a:schemeClr val="accent1"/>
              </a:solidFill>
              <a:latin typeface="Roboto Light" charset="0"/>
              <a:ea typeface="Roboto Light" charset="0"/>
              <a:cs typeface="Roboto Light" charset="0"/>
            </a:endParaRPr>
          </a:p>
        </p:txBody>
      </p:sp>
      <p:sp>
        <p:nvSpPr>
          <p:cNvPr id="37" name="Title 3">
            <a:extLst>
              <a:ext uri="{FF2B5EF4-FFF2-40B4-BE49-F238E27FC236}">
                <a16:creationId xmlns:a16="http://schemas.microsoft.com/office/drawing/2014/main" id="{9E29D001-581D-47BA-9DB8-94C85B693C18}"/>
              </a:ext>
            </a:extLst>
          </p:cNvPr>
          <p:cNvSpPr txBox="1">
            <a:spLocks/>
          </p:cNvSpPr>
          <p:nvPr/>
        </p:nvSpPr>
        <p:spPr>
          <a:xfrm>
            <a:off x="9849245" y="2309168"/>
            <a:ext cx="1618787" cy="380382"/>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rPr lang="en-US" sz="2400" b="0">
                <a:solidFill>
                  <a:schemeClr val="accent1"/>
                </a:solidFill>
                <a:latin typeface="Roboto Light" charset="0"/>
                <a:ea typeface="Roboto Light" charset="0"/>
                <a:cs typeface="Roboto Light" charset="0"/>
              </a:rPr>
              <a:t>Explaining</a:t>
            </a:r>
            <a:endParaRPr lang="en-US" sz="1050" b="0">
              <a:solidFill>
                <a:schemeClr val="accent1"/>
              </a:solidFill>
              <a:latin typeface="Roboto Light" charset="0"/>
              <a:ea typeface="Roboto Light" charset="0"/>
              <a:cs typeface="Roboto Light" charset="0"/>
            </a:endParaRPr>
          </a:p>
        </p:txBody>
      </p:sp>
      <p:cxnSp>
        <p:nvCxnSpPr>
          <p:cNvPr id="38" name="Straight Connector 37">
            <a:extLst>
              <a:ext uri="{FF2B5EF4-FFF2-40B4-BE49-F238E27FC236}">
                <a16:creationId xmlns:a16="http://schemas.microsoft.com/office/drawing/2014/main" id="{ACFCB43B-95C4-4411-81FB-0BFCEA83C189}"/>
              </a:ext>
            </a:extLst>
          </p:cNvPr>
          <p:cNvCxnSpPr/>
          <p:nvPr/>
        </p:nvCxnSpPr>
        <p:spPr>
          <a:xfrm>
            <a:off x="7893796" y="2168604"/>
            <a:ext cx="0" cy="600405"/>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F99EC23-2BC5-4773-B5C1-9049A4D7A1BD}"/>
              </a:ext>
            </a:extLst>
          </p:cNvPr>
          <p:cNvCxnSpPr/>
          <p:nvPr/>
        </p:nvCxnSpPr>
        <p:spPr>
          <a:xfrm>
            <a:off x="9653503" y="2195506"/>
            <a:ext cx="0" cy="600405"/>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40" name="Title 3">
            <a:extLst>
              <a:ext uri="{FF2B5EF4-FFF2-40B4-BE49-F238E27FC236}">
                <a16:creationId xmlns:a16="http://schemas.microsoft.com/office/drawing/2014/main" id="{18E6F191-A781-4DE4-B339-2F5D3D3CD250}"/>
              </a:ext>
            </a:extLst>
          </p:cNvPr>
          <p:cNvSpPr txBox="1">
            <a:spLocks/>
          </p:cNvSpPr>
          <p:nvPr/>
        </p:nvSpPr>
        <p:spPr>
          <a:xfrm>
            <a:off x="8018639" y="2309736"/>
            <a:ext cx="1618787" cy="380382"/>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rPr lang="en-US" sz="2400" b="0">
                <a:solidFill>
                  <a:schemeClr val="accent6"/>
                </a:solidFill>
                <a:latin typeface="Roboto Light" charset="0"/>
                <a:ea typeface="Roboto Light" charset="0"/>
                <a:cs typeface="Roboto Light" charset="0"/>
              </a:rPr>
              <a:t>Ranking</a:t>
            </a:r>
            <a:endParaRPr lang="en-US" sz="1050" b="0">
              <a:solidFill>
                <a:schemeClr val="accent6"/>
              </a:solidFill>
              <a:latin typeface="Roboto Light" charset="0"/>
              <a:ea typeface="Roboto Light" charset="0"/>
              <a:cs typeface="Roboto Light" charset="0"/>
            </a:endParaRPr>
          </a:p>
        </p:txBody>
      </p:sp>
      <p:grpSp>
        <p:nvGrpSpPr>
          <p:cNvPr id="41" name="Group 40">
            <a:extLst>
              <a:ext uri="{FF2B5EF4-FFF2-40B4-BE49-F238E27FC236}">
                <a16:creationId xmlns:a16="http://schemas.microsoft.com/office/drawing/2014/main" id="{96EEF59E-8E0E-4900-B4AF-D1ED3CC45B17}"/>
              </a:ext>
            </a:extLst>
          </p:cNvPr>
          <p:cNvGrpSpPr/>
          <p:nvPr/>
        </p:nvGrpSpPr>
        <p:grpSpPr>
          <a:xfrm>
            <a:off x="9882636" y="2932304"/>
            <a:ext cx="1552003" cy="3200708"/>
            <a:chOff x="1253669" y="2956071"/>
            <a:chExt cx="2144851" cy="3200708"/>
          </a:xfrm>
        </p:grpSpPr>
        <p:sp>
          <p:nvSpPr>
            <p:cNvPr id="42" name="Rounded Rectangle 5">
              <a:extLst>
                <a:ext uri="{FF2B5EF4-FFF2-40B4-BE49-F238E27FC236}">
                  <a16:creationId xmlns:a16="http://schemas.microsoft.com/office/drawing/2014/main" id="{9F2CAACD-6CB9-4EE3-B284-403BE9DE3E5B}"/>
                </a:ext>
              </a:extLst>
            </p:cNvPr>
            <p:cNvSpPr/>
            <p:nvPr/>
          </p:nvSpPr>
          <p:spPr>
            <a:xfrm>
              <a:off x="1253669" y="3046599"/>
              <a:ext cx="2144850" cy="3110180"/>
            </a:xfrm>
            <a:custGeom>
              <a:avLst/>
              <a:gdLst>
                <a:gd name="connsiteX0" fmla="*/ 0 w 2144851"/>
                <a:gd name="connsiteY0" fmla="*/ 26403 h 3032580"/>
                <a:gd name="connsiteX1" fmla="*/ 26403 w 2144851"/>
                <a:gd name="connsiteY1" fmla="*/ 0 h 3032580"/>
                <a:gd name="connsiteX2" fmla="*/ 2118448 w 2144851"/>
                <a:gd name="connsiteY2" fmla="*/ 0 h 3032580"/>
                <a:gd name="connsiteX3" fmla="*/ 2144851 w 2144851"/>
                <a:gd name="connsiteY3" fmla="*/ 26403 h 3032580"/>
                <a:gd name="connsiteX4" fmla="*/ 2144851 w 2144851"/>
                <a:gd name="connsiteY4" fmla="*/ 3006177 h 3032580"/>
                <a:gd name="connsiteX5" fmla="*/ 2118448 w 2144851"/>
                <a:gd name="connsiteY5" fmla="*/ 3032580 h 3032580"/>
                <a:gd name="connsiteX6" fmla="*/ 26403 w 2144851"/>
                <a:gd name="connsiteY6" fmla="*/ 3032580 h 3032580"/>
                <a:gd name="connsiteX7" fmla="*/ 0 w 2144851"/>
                <a:gd name="connsiteY7" fmla="*/ 3006177 h 3032580"/>
                <a:gd name="connsiteX8" fmla="*/ 0 w 2144851"/>
                <a:gd name="connsiteY8" fmla="*/ 26403 h 3032580"/>
                <a:gd name="connsiteX0" fmla="*/ 0 w 2144851"/>
                <a:gd name="connsiteY0" fmla="*/ 27984 h 3034161"/>
                <a:gd name="connsiteX1" fmla="*/ 26403 w 2144851"/>
                <a:gd name="connsiteY1" fmla="*/ 1581 h 3034161"/>
                <a:gd name="connsiteX2" fmla="*/ 210889 w 2144851"/>
                <a:gd name="connsiteY2" fmla="*/ 0 h 3034161"/>
                <a:gd name="connsiteX3" fmla="*/ 2118448 w 2144851"/>
                <a:gd name="connsiteY3" fmla="*/ 1581 h 3034161"/>
                <a:gd name="connsiteX4" fmla="*/ 2144851 w 2144851"/>
                <a:gd name="connsiteY4" fmla="*/ 27984 h 3034161"/>
                <a:gd name="connsiteX5" fmla="*/ 2144851 w 2144851"/>
                <a:gd name="connsiteY5" fmla="*/ 3007758 h 3034161"/>
                <a:gd name="connsiteX6" fmla="*/ 2118448 w 2144851"/>
                <a:gd name="connsiteY6" fmla="*/ 3034161 h 3034161"/>
                <a:gd name="connsiteX7" fmla="*/ 26403 w 2144851"/>
                <a:gd name="connsiteY7" fmla="*/ 3034161 h 3034161"/>
                <a:gd name="connsiteX8" fmla="*/ 0 w 2144851"/>
                <a:gd name="connsiteY8" fmla="*/ 3007758 h 3034161"/>
                <a:gd name="connsiteX9" fmla="*/ 0 w 2144851"/>
                <a:gd name="connsiteY9" fmla="*/ 27984 h 3034161"/>
                <a:gd name="connsiteX0" fmla="*/ 0 w 2144851"/>
                <a:gd name="connsiteY0" fmla="*/ 27984 h 3034161"/>
                <a:gd name="connsiteX1" fmla="*/ 26403 w 2144851"/>
                <a:gd name="connsiteY1" fmla="*/ 1581 h 3034161"/>
                <a:gd name="connsiteX2" fmla="*/ 210889 w 2144851"/>
                <a:gd name="connsiteY2" fmla="*/ 0 h 3034161"/>
                <a:gd name="connsiteX3" fmla="*/ 256419 w 2144851"/>
                <a:gd name="connsiteY3" fmla="*/ 1 h 3034161"/>
                <a:gd name="connsiteX4" fmla="*/ 2118448 w 2144851"/>
                <a:gd name="connsiteY4" fmla="*/ 1581 h 3034161"/>
                <a:gd name="connsiteX5" fmla="*/ 2144851 w 2144851"/>
                <a:gd name="connsiteY5" fmla="*/ 27984 h 3034161"/>
                <a:gd name="connsiteX6" fmla="*/ 2144851 w 2144851"/>
                <a:gd name="connsiteY6" fmla="*/ 3007758 h 3034161"/>
                <a:gd name="connsiteX7" fmla="*/ 2118448 w 2144851"/>
                <a:gd name="connsiteY7" fmla="*/ 3034161 h 3034161"/>
                <a:gd name="connsiteX8" fmla="*/ 26403 w 2144851"/>
                <a:gd name="connsiteY8" fmla="*/ 3034161 h 3034161"/>
                <a:gd name="connsiteX9" fmla="*/ 0 w 2144851"/>
                <a:gd name="connsiteY9" fmla="*/ 3007758 h 3034161"/>
                <a:gd name="connsiteX10" fmla="*/ 0 w 2144851"/>
                <a:gd name="connsiteY10" fmla="*/ 27984 h 3034161"/>
                <a:gd name="connsiteX0" fmla="*/ 0 w 2144851"/>
                <a:gd name="connsiteY0" fmla="*/ 27984 h 3034161"/>
                <a:gd name="connsiteX1" fmla="*/ 26403 w 2144851"/>
                <a:gd name="connsiteY1" fmla="*/ 1581 h 3034161"/>
                <a:gd name="connsiteX2" fmla="*/ 210889 w 2144851"/>
                <a:gd name="connsiteY2" fmla="*/ 0 h 3034161"/>
                <a:gd name="connsiteX3" fmla="*/ 256419 w 2144851"/>
                <a:gd name="connsiteY3" fmla="*/ 1 h 3034161"/>
                <a:gd name="connsiteX4" fmla="*/ 298155 w 2144851"/>
                <a:gd name="connsiteY4" fmla="*/ 1 h 3034161"/>
                <a:gd name="connsiteX5" fmla="*/ 2118448 w 2144851"/>
                <a:gd name="connsiteY5" fmla="*/ 1581 h 3034161"/>
                <a:gd name="connsiteX6" fmla="*/ 2144851 w 2144851"/>
                <a:gd name="connsiteY6" fmla="*/ 27984 h 3034161"/>
                <a:gd name="connsiteX7" fmla="*/ 2144851 w 2144851"/>
                <a:gd name="connsiteY7" fmla="*/ 3007758 h 3034161"/>
                <a:gd name="connsiteX8" fmla="*/ 2118448 w 2144851"/>
                <a:gd name="connsiteY8" fmla="*/ 3034161 h 3034161"/>
                <a:gd name="connsiteX9" fmla="*/ 26403 w 2144851"/>
                <a:gd name="connsiteY9" fmla="*/ 3034161 h 3034161"/>
                <a:gd name="connsiteX10" fmla="*/ 0 w 2144851"/>
                <a:gd name="connsiteY10" fmla="*/ 3007758 h 3034161"/>
                <a:gd name="connsiteX11" fmla="*/ 0 w 2144851"/>
                <a:gd name="connsiteY11" fmla="*/ 27984 h 3034161"/>
                <a:gd name="connsiteX0" fmla="*/ 0 w 2144851"/>
                <a:gd name="connsiteY0" fmla="*/ 81102 h 3087279"/>
                <a:gd name="connsiteX1" fmla="*/ 26403 w 2144851"/>
                <a:gd name="connsiteY1" fmla="*/ 54699 h 3087279"/>
                <a:gd name="connsiteX2" fmla="*/ 210889 w 2144851"/>
                <a:gd name="connsiteY2" fmla="*/ 53118 h 3087279"/>
                <a:gd name="connsiteX3" fmla="*/ 256419 w 2144851"/>
                <a:gd name="connsiteY3" fmla="*/ 0 h 3087279"/>
                <a:gd name="connsiteX4" fmla="*/ 298155 w 2144851"/>
                <a:gd name="connsiteY4" fmla="*/ 53119 h 3087279"/>
                <a:gd name="connsiteX5" fmla="*/ 2118448 w 2144851"/>
                <a:gd name="connsiteY5" fmla="*/ 54699 h 3087279"/>
                <a:gd name="connsiteX6" fmla="*/ 2144851 w 2144851"/>
                <a:gd name="connsiteY6" fmla="*/ 81102 h 3087279"/>
                <a:gd name="connsiteX7" fmla="*/ 2144851 w 2144851"/>
                <a:gd name="connsiteY7" fmla="*/ 3060876 h 3087279"/>
                <a:gd name="connsiteX8" fmla="*/ 2118448 w 2144851"/>
                <a:gd name="connsiteY8" fmla="*/ 3087279 h 3087279"/>
                <a:gd name="connsiteX9" fmla="*/ 26403 w 2144851"/>
                <a:gd name="connsiteY9" fmla="*/ 3087279 h 3087279"/>
                <a:gd name="connsiteX10" fmla="*/ 0 w 2144851"/>
                <a:gd name="connsiteY10" fmla="*/ 3060876 h 3087279"/>
                <a:gd name="connsiteX11" fmla="*/ 0 w 2144851"/>
                <a:gd name="connsiteY11" fmla="*/ 81102 h 3087279"/>
                <a:gd name="connsiteX0" fmla="*/ 0 w 2144851"/>
                <a:gd name="connsiteY0" fmla="*/ 81102 h 3087279"/>
                <a:gd name="connsiteX1" fmla="*/ 26403 w 2144851"/>
                <a:gd name="connsiteY1" fmla="*/ 54699 h 3087279"/>
                <a:gd name="connsiteX2" fmla="*/ 210889 w 2144851"/>
                <a:gd name="connsiteY2" fmla="*/ 53118 h 3087279"/>
                <a:gd name="connsiteX3" fmla="*/ 256419 w 2144851"/>
                <a:gd name="connsiteY3" fmla="*/ 0 h 3087279"/>
                <a:gd name="connsiteX4" fmla="*/ 358862 w 2144851"/>
                <a:gd name="connsiteY4" fmla="*/ 53119 h 3087279"/>
                <a:gd name="connsiteX5" fmla="*/ 2118448 w 2144851"/>
                <a:gd name="connsiteY5" fmla="*/ 54699 h 3087279"/>
                <a:gd name="connsiteX6" fmla="*/ 2144851 w 2144851"/>
                <a:gd name="connsiteY6" fmla="*/ 81102 h 3087279"/>
                <a:gd name="connsiteX7" fmla="*/ 2144851 w 2144851"/>
                <a:gd name="connsiteY7" fmla="*/ 3060876 h 3087279"/>
                <a:gd name="connsiteX8" fmla="*/ 2118448 w 2144851"/>
                <a:gd name="connsiteY8" fmla="*/ 3087279 h 3087279"/>
                <a:gd name="connsiteX9" fmla="*/ 26403 w 2144851"/>
                <a:gd name="connsiteY9" fmla="*/ 3087279 h 3087279"/>
                <a:gd name="connsiteX10" fmla="*/ 0 w 2144851"/>
                <a:gd name="connsiteY10" fmla="*/ 3060876 h 3087279"/>
                <a:gd name="connsiteX11" fmla="*/ 0 w 2144851"/>
                <a:gd name="connsiteY11" fmla="*/ 81102 h 3087279"/>
                <a:gd name="connsiteX0" fmla="*/ 0 w 2144851"/>
                <a:gd name="connsiteY0" fmla="*/ 111455 h 3117632"/>
                <a:gd name="connsiteX1" fmla="*/ 26403 w 2144851"/>
                <a:gd name="connsiteY1" fmla="*/ 85052 h 3117632"/>
                <a:gd name="connsiteX2" fmla="*/ 210889 w 2144851"/>
                <a:gd name="connsiteY2" fmla="*/ 83471 h 3117632"/>
                <a:gd name="connsiteX3" fmla="*/ 301949 w 2144851"/>
                <a:gd name="connsiteY3" fmla="*/ 0 h 3117632"/>
                <a:gd name="connsiteX4" fmla="*/ 358862 w 2144851"/>
                <a:gd name="connsiteY4" fmla="*/ 83472 h 3117632"/>
                <a:gd name="connsiteX5" fmla="*/ 2118448 w 2144851"/>
                <a:gd name="connsiteY5" fmla="*/ 85052 h 3117632"/>
                <a:gd name="connsiteX6" fmla="*/ 2144851 w 2144851"/>
                <a:gd name="connsiteY6" fmla="*/ 111455 h 3117632"/>
                <a:gd name="connsiteX7" fmla="*/ 2144851 w 2144851"/>
                <a:gd name="connsiteY7" fmla="*/ 3091229 h 3117632"/>
                <a:gd name="connsiteX8" fmla="*/ 2118448 w 2144851"/>
                <a:gd name="connsiteY8" fmla="*/ 3117632 h 3117632"/>
                <a:gd name="connsiteX9" fmla="*/ 26403 w 2144851"/>
                <a:gd name="connsiteY9" fmla="*/ 3117632 h 3117632"/>
                <a:gd name="connsiteX10" fmla="*/ 0 w 2144851"/>
                <a:gd name="connsiteY10" fmla="*/ 3091229 h 3117632"/>
                <a:gd name="connsiteX11" fmla="*/ 0 w 2144851"/>
                <a:gd name="connsiteY11" fmla="*/ 111455 h 3117632"/>
                <a:gd name="connsiteX0" fmla="*/ 0 w 2144851"/>
                <a:gd name="connsiteY0" fmla="*/ 122838 h 3129015"/>
                <a:gd name="connsiteX1" fmla="*/ 26403 w 2144851"/>
                <a:gd name="connsiteY1" fmla="*/ 96435 h 3129015"/>
                <a:gd name="connsiteX2" fmla="*/ 210889 w 2144851"/>
                <a:gd name="connsiteY2" fmla="*/ 94854 h 3129015"/>
                <a:gd name="connsiteX3" fmla="*/ 286772 w 2144851"/>
                <a:gd name="connsiteY3" fmla="*/ 0 h 3129015"/>
                <a:gd name="connsiteX4" fmla="*/ 358862 w 2144851"/>
                <a:gd name="connsiteY4" fmla="*/ 94855 h 3129015"/>
                <a:gd name="connsiteX5" fmla="*/ 2118448 w 2144851"/>
                <a:gd name="connsiteY5" fmla="*/ 96435 h 3129015"/>
                <a:gd name="connsiteX6" fmla="*/ 2144851 w 2144851"/>
                <a:gd name="connsiteY6" fmla="*/ 122838 h 3129015"/>
                <a:gd name="connsiteX7" fmla="*/ 2144851 w 2144851"/>
                <a:gd name="connsiteY7" fmla="*/ 3102612 h 3129015"/>
                <a:gd name="connsiteX8" fmla="*/ 2118448 w 2144851"/>
                <a:gd name="connsiteY8" fmla="*/ 3129015 h 3129015"/>
                <a:gd name="connsiteX9" fmla="*/ 26403 w 2144851"/>
                <a:gd name="connsiteY9" fmla="*/ 3129015 h 3129015"/>
                <a:gd name="connsiteX10" fmla="*/ 0 w 2144851"/>
                <a:gd name="connsiteY10" fmla="*/ 3102612 h 3129015"/>
                <a:gd name="connsiteX11" fmla="*/ 0 w 2144851"/>
                <a:gd name="connsiteY11" fmla="*/ 122838 h 3129015"/>
                <a:gd name="connsiteX0" fmla="*/ 0 w 2144851"/>
                <a:gd name="connsiteY0" fmla="*/ 107661 h 3113838"/>
                <a:gd name="connsiteX1" fmla="*/ 26403 w 2144851"/>
                <a:gd name="connsiteY1" fmla="*/ 81258 h 3113838"/>
                <a:gd name="connsiteX2" fmla="*/ 210889 w 2144851"/>
                <a:gd name="connsiteY2" fmla="*/ 79677 h 3113838"/>
                <a:gd name="connsiteX3" fmla="*/ 286772 w 2144851"/>
                <a:gd name="connsiteY3" fmla="*/ 0 h 3113838"/>
                <a:gd name="connsiteX4" fmla="*/ 358862 w 2144851"/>
                <a:gd name="connsiteY4" fmla="*/ 79678 h 3113838"/>
                <a:gd name="connsiteX5" fmla="*/ 2118448 w 2144851"/>
                <a:gd name="connsiteY5" fmla="*/ 81258 h 3113838"/>
                <a:gd name="connsiteX6" fmla="*/ 2144851 w 2144851"/>
                <a:gd name="connsiteY6" fmla="*/ 107661 h 3113838"/>
                <a:gd name="connsiteX7" fmla="*/ 2144851 w 2144851"/>
                <a:gd name="connsiteY7" fmla="*/ 3087435 h 3113838"/>
                <a:gd name="connsiteX8" fmla="*/ 2118448 w 2144851"/>
                <a:gd name="connsiteY8" fmla="*/ 3113838 h 3113838"/>
                <a:gd name="connsiteX9" fmla="*/ 26403 w 2144851"/>
                <a:gd name="connsiteY9" fmla="*/ 3113838 h 3113838"/>
                <a:gd name="connsiteX10" fmla="*/ 0 w 2144851"/>
                <a:gd name="connsiteY10" fmla="*/ 3087435 h 3113838"/>
                <a:gd name="connsiteX11" fmla="*/ 0 w 2144851"/>
                <a:gd name="connsiteY11" fmla="*/ 107661 h 3113838"/>
                <a:gd name="connsiteX0" fmla="*/ 0 w 2144851"/>
                <a:gd name="connsiteY0" fmla="*/ 107661 h 3113838"/>
                <a:gd name="connsiteX1" fmla="*/ 26403 w 2144851"/>
                <a:gd name="connsiteY1" fmla="*/ 81258 h 3113838"/>
                <a:gd name="connsiteX2" fmla="*/ 210889 w 2144851"/>
                <a:gd name="connsiteY2" fmla="*/ 79677 h 3113838"/>
                <a:gd name="connsiteX3" fmla="*/ 286772 w 2144851"/>
                <a:gd name="connsiteY3" fmla="*/ 0 h 3113838"/>
                <a:gd name="connsiteX4" fmla="*/ 388123 w 2144851"/>
                <a:gd name="connsiteY4" fmla="*/ 79678 h 3113838"/>
                <a:gd name="connsiteX5" fmla="*/ 2118448 w 2144851"/>
                <a:gd name="connsiteY5" fmla="*/ 81258 h 3113838"/>
                <a:gd name="connsiteX6" fmla="*/ 2144851 w 2144851"/>
                <a:gd name="connsiteY6" fmla="*/ 107661 h 3113838"/>
                <a:gd name="connsiteX7" fmla="*/ 2144851 w 2144851"/>
                <a:gd name="connsiteY7" fmla="*/ 3087435 h 3113838"/>
                <a:gd name="connsiteX8" fmla="*/ 2118448 w 2144851"/>
                <a:gd name="connsiteY8" fmla="*/ 3113838 h 3113838"/>
                <a:gd name="connsiteX9" fmla="*/ 26403 w 2144851"/>
                <a:gd name="connsiteY9" fmla="*/ 3113838 h 3113838"/>
                <a:gd name="connsiteX10" fmla="*/ 0 w 2144851"/>
                <a:gd name="connsiteY10" fmla="*/ 3087435 h 3113838"/>
                <a:gd name="connsiteX11" fmla="*/ 0 w 2144851"/>
                <a:gd name="connsiteY11" fmla="*/ 107661 h 3113838"/>
                <a:gd name="connsiteX0" fmla="*/ 0 w 2144851"/>
                <a:gd name="connsiteY0" fmla="*/ 104003 h 3110180"/>
                <a:gd name="connsiteX1" fmla="*/ 26403 w 2144851"/>
                <a:gd name="connsiteY1" fmla="*/ 77600 h 3110180"/>
                <a:gd name="connsiteX2" fmla="*/ 210889 w 2144851"/>
                <a:gd name="connsiteY2" fmla="*/ 76019 h 3110180"/>
                <a:gd name="connsiteX3" fmla="*/ 301402 w 2144851"/>
                <a:gd name="connsiteY3" fmla="*/ 0 h 3110180"/>
                <a:gd name="connsiteX4" fmla="*/ 388123 w 2144851"/>
                <a:gd name="connsiteY4" fmla="*/ 76020 h 3110180"/>
                <a:gd name="connsiteX5" fmla="*/ 2118448 w 2144851"/>
                <a:gd name="connsiteY5" fmla="*/ 77600 h 3110180"/>
                <a:gd name="connsiteX6" fmla="*/ 2144851 w 2144851"/>
                <a:gd name="connsiteY6" fmla="*/ 104003 h 3110180"/>
                <a:gd name="connsiteX7" fmla="*/ 2144851 w 2144851"/>
                <a:gd name="connsiteY7" fmla="*/ 3083777 h 3110180"/>
                <a:gd name="connsiteX8" fmla="*/ 2118448 w 2144851"/>
                <a:gd name="connsiteY8" fmla="*/ 3110180 h 3110180"/>
                <a:gd name="connsiteX9" fmla="*/ 26403 w 2144851"/>
                <a:gd name="connsiteY9" fmla="*/ 3110180 h 3110180"/>
                <a:gd name="connsiteX10" fmla="*/ 0 w 2144851"/>
                <a:gd name="connsiteY10" fmla="*/ 3083777 h 3110180"/>
                <a:gd name="connsiteX11" fmla="*/ 0 w 2144851"/>
                <a:gd name="connsiteY11" fmla="*/ 104003 h 3110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44851" h="3110180">
                  <a:moveTo>
                    <a:pt x="0" y="104003"/>
                  </a:moveTo>
                  <a:cubicBezTo>
                    <a:pt x="0" y="89421"/>
                    <a:pt x="11821" y="77600"/>
                    <a:pt x="26403" y="77600"/>
                  </a:cubicBezTo>
                  <a:lnTo>
                    <a:pt x="210889" y="76019"/>
                  </a:lnTo>
                  <a:lnTo>
                    <a:pt x="301402" y="0"/>
                  </a:lnTo>
                  <a:lnTo>
                    <a:pt x="388123" y="76020"/>
                  </a:lnTo>
                  <a:lnTo>
                    <a:pt x="2118448" y="77600"/>
                  </a:lnTo>
                  <a:cubicBezTo>
                    <a:pt x="2133030" y="77600"/>
                    <a:pt x="2144851" y="89421"/>
                    <a:pt x="2144851" y="104003"/>
                  </a:cubicBezTo>
                  <a:lnTo>
                    <a:pt x="2144851" y="3083777"/>
                  </a:lnTo>
                  <a:cubicBezTo>
                    <a:pt x="2144851" y="3098359"/>
                    <a:pt x="2133030" y="3110180"/>
                    <a:pt x="2118448" y="3110180"/>
                  </a:cubicBezTo>
                  <a:lnTo>
                    <a:pt x="26403" y="3110180"/>
                  </a:lnTo>
                  <a:cubicBezTo>
                    <a:pt x="11821" y="3110180"/>
                    <a:pt x="0" y="3098359"/>
                    <a:pt x="0" y="3083777"/>
                  </a:cubicBezTo>
                  <a:lnTo>
                    <a:pt x="0" y="104003"/>
                  </a:lnTo>
                  <a:close/>
                </a:path>
              </a:pathLst>
            </a:custGeom>
            <a:solidFill>
              <a:schemeClr val="bg1"/>
            </a:solidFill>
            <a:ln>
              <a:noFill/>
            </a:ln>
            <a:effectLst>
              <a:outerShdw blurRad="38100" dist="127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Title 3">
              <a:extLst>
                <a:ext uri="{FF2B5EF4-FFF2-40B4-BE49-F238E27FC236}">
                  <a16:creationId xmlns:a16="http://schemas.microsoft.com/office/drawing/2014/main" id="{E6445169-95B4-47EA-BCAA-8424950EA9EB}"/>
                </a:ext>
              </a:extLst>
            </p:cNvPr>
            <p:cNvSpPr txBox="1">
              <a:spLocks/>
            </p:cNvSpPr>
            <p:nvPr/>
          </p:nvSpPr>
          <p:spPr>
            <a:xfrm>
              <a:off x="1387720" y="3382778"/>
              <a:ext cx="2010800" cy="315146"/>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rPr lang="en-US" sz="1400" b="0">
                  <a:latin typeface="Roboto Medium" charset="0"/>
                  <a:ea typeface="Roboto Medium" charset="0"/>
                  <a:cs typeface="Roboto Medium" charset="0"/>
                </a:rPr>
                <a:t>Justification</a:t>
              </a:r>
              <a:endParaRPr lang="en-US" sz="700" b="0">
                <a:latin typeface="Roboto Medium" charset="0"/>
                <a:ea typeface="Roboto Medium" charset="0"/>
                <a:cs typeface="Roboto Medium" charset="0"/>
              </a:endParaRPr>
            </a:p>
          </p:txBody>
        </p:sp>
        <p:sp>
          <p:nvSpPr>
            <p:cNvPr id="44" name="Rectangle 43">
              <a:extLst>
                <a:ext uri="{FF2B5EF4-FFF2-40B4-BE49-F238E27FC236}">
                  <a16:creationId xmlns:a16="http://schemas.microsoft.com/office/drawing/2014/main" id="{CD30CEF7-6151-48DF-979C-42D5A96606A3}"/>
                </a:ext>
              </a:extLst>
            </p:cNvPr>
            <p:cNvSpPr/>
            <p:nvPr/>
          </p:nvSpPr>
          <p:spPr>
            <a:xfrm>
              <a:off x="1356790" y="2956071"/>
              <a:ext cx="402457" cy="338554"/>
            </a:xfrm>
            <a:prstGeom prst="rect">
              <a:avLst/>
            </a:prstGeom>
          </p:spPr>
          <p:txBody>
            <a:bodyPr wrap="square">
              <a:spAutoFit/>
            </a:bodyPr>
            <a:lstStyle/>
            <a:p>
              <a:pPr algn="ctr"/>
              <a:r>
                <a:rPr lang="en-US" sz="1600" b="1">
                  <a:solidFill>
                    <a:schemeClr val="accent1"/>
                  </a:solidFill>
                  <a:latin typeface="linea-arrows-10" charset="0"/>
                  <a:ea typeface="linea-arrows-10" charset="0"/>
                  <a:cs typeface="linea-arrows-10" charset="0"/>
                  <a:sym typeface="Wingdings" panose="05000000000000000000" pitchFamily="2" charset="2"/>
                </a:rPr>
                <a:t></a:t>
              </a:r>
              <a:endParaRPr lang="en-US" sz="1600" b="1">
                <a:solidFill>
                  <a:schemeClr val="accent1"/>
                </a:solidFill>
              </a:endParaRPr>
            </a:p>
          </p:txBody>
        </p:sp>
      </p:grpSp>
      <p:sp>
        <p:nvSpPr>
          <p:cNvPr id="45" name="TextBox 44">
            <a:extLst>
              <a:ext uri="{FF2B5EF4-FFF2-40B4-BE49-F238E27FC236}">
                <a16:creationId xmlns:a16="http://schemas.microsoft.com/office/drawing/2014/main" id="{00E8547E-F2F1-42BD-9D81-8E5A750D5BFE}"/>
              </a:ext>
            </a:extLst>
          </p:cNvPr>
          <p:cNvSpPr txBox="1"/>
          <p:nvPr/>
        </p:nvSpPr>
        <p:spPr>
          <a:xfrm>
            <a:off x="6362794" y="3646903"/>
            <a:ext cx="1418639" cy="1166153"/>
          </a:xfrm>
          <a:prstGeom prst="rect">
            <a:avLst/>
          </a:prstGeom>
          <a:noFill/>
        </p:spPr>
        <p:txBody>
          <a:bodyPr wrap="square" rtlCol="0">
            <a:spAutoFit/>
          </a:bodyPr>
          <a:lstStyle/>
          <a:p>
            <a:pPr>
              <a:lnSpc>
                <a:spcPct val="150000"/>
              </a:lnSpc>
            </a:pPr>
            <a:r>
              <a:rPr lang="en-US" sz="1200">
                <a:solidFill>
                  <a:schemeClr val="tx1">
                    <a:alpha val="70000"/>
                  </a:schemeClr>
                </a:solidFill>
                <a:latin typeface="Roboto Light" charset="0"/>
                <a:ea typeface="Roboto Light" charset="0"/>
                <a:cs typeface="Roboto Light" charset="0"/>
              </a:rPr>
              <a:t>Hyperparameter tuning: what to include what to leave out</a:t>
            </a:r>
          </a:p>
        </p:txBody>
      </p:sp>
      <p:sp>
        <p:nvSpPr>
          <p:cNvPr id="46" name="TextBox 45">
            <a:extLst>
              <a:ext uri="{FF2B5EF4-FFF2-40B4-BE49-F238E27FC236}">
                <a16:creationId xmlns:a16="http://schemas.microsoft.com/office/drawing/2014/main" id="{D6F71569-4BB8-4B59-93B6-3D715BE29114}"/>
              </a:ext>
            </a:extLst>
          </p:cNvPr>
          <p:cNvSpPr txBox="1"/>
          <p:nvPr/>
        </p:nvSpPr>
        <p:spPr>
          <a:xfrm>
            <a:off x="8133199" y="3654747"/>
            <a:ext cx="1418639" cy="1720151"/>
          </a:xfrm>
          <a:prstGeom prst="rect">
            <a:avLst/>
          </a:prstGeom>
          <a:noFill/>
        </p:spPr>
        <p:txBody>
          <a:bodyPr wrap="square" rtlCol="0">
            <a:spAutoFit/>
          </a:bodyPr>
          <a:lstStyle/>
          <a:p>
            <a:pPr>
              <a:lnSpc>
                <a:spcPct val="150000"/>
              </a:lnSpc>
            </a:pPr>
            <a:r>
              <a:rPr lang="en-US" sz="1200">
                <a:solidFill>
                  <a:schemeClr val="tx1">
                    <a:alpha val="70000"/>
                  </a:schemeClr>
                </a:solidFill>
                <a:latin typeface="Roboto Light" charset="0"/>
                <a:ea typeface="Roboto Light" charset="0"/>
                <a:cs typeface="Roboto Light" charset="0"/>
              </a:rPr>
              <a:t>Having an overview of the best performing models based on accuracy &amp; speed.</a:t>
            </a:r>
          </a:p>
        </p:txBody>
      </p:sp>
      <p:sp>
        <p:nvSpPr>
          <p:cNvPr id="47" name="TextBox 46">
            <a:extLst>
              <a:ext uri="{FF2B5EF4-FFF2-40B4-BE49-F238E27FC236}">
                <a16:creationId xmlns:a16="http://schemas.microsoft.com/office/drawing/2014/main" id="{D062E3D3-BB48-4699-8FCE-51B8F362AA7D}"/>
              </a:ext>
            </a:extLst>
          </p:cNvPr>
          <p:cNvSpPr txBox="1"/>
          <p:nvPr/>
        </p:nvSpPr>
        <p:spPr>
          <a:xfrm>
            <a:off x="9923583" y="3652925"/>
            <a:ext cx="1418639" cy="1997150"/>
          </a:xfrm>
          <a:prstGeom prst="rect">
            <a:avLst/>
          </a:prstGeom>
          <a:noFill/>
        </p:spPr>
        <p:txBody>
          <a:bodyPr wrap="square" rtlCol="0">
            <a:spAutoFit/>
          </a:bodyPr>
          <a:lstStyle/>
          <a:p>
            <a:pPr>
              <a:lnSpc>
                <a:spcPct val="150000"/>
              </a:lnSpc>
            </a:pPr>
            <a:r>
              <a:rPr lang="en-US" sz="1200">
                <a:solidFill>
                  <a:schemeClr val="tx1">
                    <a:alpha val="70000"/>
                  </a:schemeClr>
                </a:solidFill>
                <a:latin typeface="Roboto Light" charset="0"/>
                <a:ea typeface="Roboto Light" charset="0"/>
                <a:cs typeface="Roboto Light" charset="0"/>
              </a:rPr>
              <a:t>Being able to explain what created an outcome and what features had the most significant impact</a:t>
            </a:r>
          </a:p>
        </p:txBody>
      </p:sp>
    </p:spTree>
    <p:extLst>
      <p:ext uri="{BB962C8B-B14F-4D97-AF65-F5344CB8AC3E}">
        <p14:creationId xmlns:p14="http://schemas.microsoft.com/office/powerpoint/2010/main" val="38129283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5000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500" fill="hold"/>
                                        <p:tgtEl>
                                          <p:spTgt spid="6"/>
                                        </p:tgtEl>
                                        <p:attrNameLst>
                                          <p:attrName>ppt_x</p:attrName>
                                        </p:attrNameLst>
                                      </p:cBhvr>
                                      <p:tavLst>
                                        <p:tav tm="0">
                                          <p:val>
                                            <p:strVal val="#ppt_x"/>
                                          </p:val>
                                        </p:tav>
                                        <p:tav tm="100000">
                                          <p:val>
                                            <p:strVal val="#ppt_x"/>
                                          </p:val>
                                        </p:tav>
                                      </p:tavLst>
                                    </p:anim>
                                    <p:anim calcmode="lin" valueType="num">
                                      <p:cBhvr additive="base">
                                        <p:cTn id="8" dur="15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4" decel="50000" fill="hold" nodeType="withEffect">
                                  <p:stCondLst>
                                    <p:cond delay="50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1500" fill="hold"/>
                                        <p:tgtEl>
                                          <p:spTgt spid="11"/>
                                        </p:tgtEl>
                                        <p:attrNameLst>
                                          <p:attrName>ppt_x</p:attrName>
                                        </p:attrNameLst>
                                      </p:cBhvr>
                                      <p:tavLst>
                                        <p:tav tm="0">
                                          <p:val>
                                            <p:strVal val="#ppt_x"/>
                                          </p:val>
                                        </p:tav>
                                        <p:tav tm="100000">
                                          <p:val>
                                            <p:strVal val="#ppt_x"/>
                                          </p:val>
                                        </p:tav>
                                      </p:tavLst>
                                    </p:anim>
                                    <p:anim calcmode="lin" valueType="num">
                                      <p:cBhvr additive="base">
                                        <p:cTn id="12" dur="1500" fill="hold"/>
                                        <p:tgtEl>
                                          <p:spTgt spid="11"/>
                                        </p:tgtEl>
                                        <p:attrNameLst>
                                          <p:attrName>ppt_y</p:attrName>
                                        </p:attrNameLst>
                                      </p:cBhvr>
                                      <p:tavLst>
                                        <p:tav tm="0">
                                          <p:val>
                                            <p:strVal val="1+#ppt_h/2"/>
                                          </p:val>
                                        </p:tav>
                                        <p:tav tm="100000">
                                          <p:val>
                                            <p:strVal val="#ppt_y"/>
                                          </p:val>
                                        </p:tav>
                                      </p:tavLst>
                                    </p:anim>
                                  </p:childTnLst>
                                </p:cTn>
                              </p:par>
                              <p:par>
                                <p:cTn id="13" presetID="2" presetClass="entr" presetSubtype="4" decel="50000" fill="hold" nodeType="withEffect">
                                  <p:stCondLst>
                                    <p:cond delay="1000"/>
                                  </p:stCondLst>
                                  <p:childTnLst>
                                    <p:set>
                                      <p:cBhvr>
                                        <p:cTn id="14" dur="1" fill="hold">
                                          <p:stCondLst>
                                            <p:cond delay="0"/>
                                          </p:stCondLst>
                                        </p:cTn>
                                        <p:tgtEl>
                                          <p:spTgt spid="15"/>
                                        </p:tgtEl>
                                        <p:attrNameLst>
                                          <p:attrName>style.visibility</p:attrName>
                                        </p:attrNameLst>
                                      </p:cBhvr>
                                      <p:to>
                                        <p:strVal val="visible"/>
                                      </p:to>
                                    </p:set>
                                    <p:anim calcmode="lin" valueType="num">
                                      <p:cBhvr additive="base">
                                        <p:cTn id="15" dur="1500" fill="hold"/>
                                        <p:tgtEl>
                                          <p:spTgt spid="15"/>
                                        </p:tgtEl>
                                        <p:attrNameLst>
                                          <p:attrName>ppt_x</p:attrName>
                                        </p:attrNameLst>
                                      </p:cBhvr>
                                      <p:tavLst>
                                        <p:tav tm="0">
                                          <p:val>
                                            <p:strVal val="#ppt_x"/>
                                          </p:val>
                                        </p:tav>
                                        <p:tav tm="100000">
                                          <p:val>
                                            <p:strVal val="#ppt_x"/>
                                          </p:val>
                                        </p:tav>
                                      </p:tavLst>
                                    </p:anim>
                                    <p:anim calcmode="lin" valueType="num">
                                      <p:cBhvr additive="base">
                                        <p:cTn id="16" dur="1500" fill="hold"/>
                                        <p:tgtEl>
                                          <p:spTgt spid="15"/>
                                        </p:tgtEl>
                                        <p:attrNameLst>
                                          <p:attrName>ppt_y</p:attrName>
                                        </p:attrNameLst>
                                      </p:cBhvr>
                                      <p:tavLst>
                                        <p:tav tm="0">
                                          <p:val>
                                            <p:strVal val="1+#ppt_h/2"/>
                                          </p:val>
                                        </p:tav>
                                        <p:tav tm="100000">
                                          <p:val>
                                            <p:strVal val="#ppt_y"/>
                                          </p:val>
                                        </p:tav>
                                      </p:tavLst>
                                    </p:anim>
                                  </p:childTnLst>
                                </p:cTn>
                              </p:par>
                              <p:par>
                                <p:cTn id="17" presetID="42" presetClass="entr" presetSubtype="0" fill="hold" grpId="0" nodeType="withEffect">
                                  <p:stCondLst>
                                    <p:cond delay="3000"/>
                                  </p:stCondLst>
                                  <p:childTnLst>
                                    <p:set>
                                      <p:cBhvr>
                                        <p:cTn id="18" dur="1" fill="hold">
                                          <p:stCondLst>
                                            <p:cond delay="0"/>
                                          </p:stCondLst>
                                        </p:cTn>
                                        <p:tgtEl>
                                          <p:spTgt spid="24"/>
                                        </p:tgtEl>
                                        <p:attrNameLst>
                                          <p:attrName>style.visibility</p:attrName>
                                        </p:attrNameLst>
                                      </p:cBhvr>
                                      <p:to>
                                        <p:strVal val="visible"/>
                                      </p:to>
                                    </p:set>
                                    <p:animEffect transition="in" filter="fade">
                                      <p:cBhvr>
                                        <p:cTn id="19" dur="1000"/>
                                        <p:tgtEl>
                                          <p:spTgt spid="24"/>
                                        </p:tgtEl>
                                      </p:cBhvr>
                                    </p:animEffect>
                                    <p:anim calcmode="lin" valueType="num">
                                      <p:cBhvr>
                                        <p:cTn id="20" dur="1000" fill="hold"/>
                                        <p:tgtEl>
                                          <p:spTgt spid="24"/>
                                        </p:tgtEl>
                                        <p:attrNameLst>
                                          <p:attrName>ppt_x</p:attrName>
                                        </p:attrNameLst>
                                      </p:cBhvr>
                                      <p:tavLst>
                                        <p:tav tm="0">
                                          <p:val>
                                            <p:strVal val="#ppt_x"/>
                                          </p:val>
                                        </p:tav>
                                        <p:tav tm="100000">
                                          <p:val>
                                            <p:strVal val="#ppt_x"/>
                                          </p:val>
                                        </p:tav>
                                      </p:tavLst>
                                    </p:anim>
                                    <p:anim calcmode="lin" valueType="num">
                                      <p:cBhvr>
                                        <p:cTn id="21" dur="1000" fill="hold"/>
                                        <p:tgtEl>
                                          <p:spTgt spid="24"/>
                                        </p:tgtEl>
                                        <p:attrNameLst>
                                          <p:attrName>ppt_y</p:attrName>
                                        </p:attrNameLst>
                                      </p:cBhvr>
                                      <p:tavLst>
                                        <p:tav tm="0">
                                          <p:val>
                                            <p:strVal val="#ppt_y+.1"/>
                                          </p:val>
                                        </p:tav>
                                        <p:tav tm="100000">
                                          <p:val>
                                            <p:strVal val="#ppt_y"/>
                                          </p:val>
                                        </p:tav>
                                      </p:tavLst>
                                    </p:anim>
                                  </p:childTnLst>
                                </p:cTn>
                              </p:par>
                              <p:par>
                                <p:cTn id="22" presetID="42" presetClass="entr" presetSubtype="0" fill="hold" grpId="0" nodeType="withEffect">
                                  <p:stCondLst>
                                    <p:cond delay="3000"/>
                                  </p:stCondLst>
                                  <p:childTnLst>
                                    <p:set>
                                      <p:cBhvr>
                                        <p:cTn id="23" dur="1" fill="hold">
                                          <p:stCondLst>
                                            <p:cond delay="0"/>
                                          </p:stCondLst>
                                        </p:cTn>
                                        <p:tgtEl>
                                          <p:spTgt spid="25"/>
                                        </p:tgtEl>
                                        <p:attrNameLst>
                                          <p:attrName>style.visibility</p:attrName>
                                        </p:attrNameLst>
                                      </p:cBhvr>
                                      <p:to>
                                        <p:strVal val="visible"/>
                                      </p:to>
                                    </p:set>
                                    <p:animEffect transition="in" filter="fade">
                                      <p:cBhvr>
                                        <p:cTn id="24" dur="1000"/>
                                        <p:tgtEl>
                                          <p:spTgt spid="25"/>
                                        </p:tgtEl>
                                      </p:cBhvr>
                                    </p:animEffect>
                                    <p:anim calcmode="lin" valueType="num">
                                      <p:cBhvr>
                                        <p:cTn id="25" dur="1000" fill="hold"/>
                                        <p:tgtEl>
                                          <p:spTgt spid="25"/>
                                        </p:tgtEl>
                                        <p:attrNameLst>
                                          <p:attrName>ppt_x</p:attrName>
                                        </p:attrNameLst>
                                      </p:cBhvr>
                                      <p:tavLst>
                                        <p:tav tm="0">
                                          <p:val>
                                            <p:strVal val="#ppt_x"/>
                                          </p:val>
                                        </p:tav>
                                        <p:tav tm="100000">
                                          <p:val>
                                            <p:strVal val="#ppt_x"/>
                                          </p:val>
                                        </p:tav>
                                      </p:tavLst>
                                    </p:anim>
                                    <p:anim calcmode="lin" valueType="num">
                                      <p:cBhvr>
                                        <p:cTn id="26" dur="1000" fill="hold"/>
                                        <p:tgtEl>
                                          <p:spTgt spid="25"/>
                                        </p:tgtEl>
                                        <p:attrNameLst>
                                          <p:attrName>ppt_y</p:attrName>
                                        </p:attrNameLst>
                                      </p:cBhvr>
                                      <p:tavLst>
                                        <p:tav tm="0">
                                          <p:val>
                                            <p:strVal val="#ppt_y+.1"/>
                                          </p:val>
                                        </p:tav>
                                        <p:tav tm="100000">
                                          <p:val>
                                            <p:strVal val="#ppt_y"/>
                                          </p:val>
                                        </p:tav>
                                      </p:tavLst>
                                    </p:anim>
                                  </p:childTnLst>
                                </p:cTn>
                              </p:par>
                              <p:par>
                                <p:cTn id="27" presetID="42" presetClass="entr" presetSubtype="0" fill="hold" grpId="0" nodeType="withEffect">
                                  <p:stCondLst>
                                    <p:cond delay="3000"/>
                                  </p:stCondLst>
                                  <p:childTnLst>
                                    <p:set>
                                      <p:cBhvr>
                                        <p:cTn id="28" dur="1" fill="hold">
                                          <p:stCondLst>
                                            <p:cond delay="0"/>
                                          </p:stCondLst>
                                        </p:cTn>
                                        <p:tgtEl>
                                          <p:spTgt spid="26"/>
                                        </p:tgtEl>
                                        <p:attrNameLst>
                                          <p:attrName>style.visibility</p:attrName>
                                        </p:attrNameLst>
                                      </p:cBhvr>
                                      <p:to>
                                        <p:strVal val="visible"/>
                                      </p:to>
                                    </p:set>
                                    <p:animEffect transition="in" filter="fade">
                                      <p:cBhvr>
                                        <p:cTn id="29" dur="1000"/>
                                        <p:tgtEl>
                                          <p:spTgt spid="26"/>
                                        </p:tgtEl>
                                      </p:cBhvr>
                                    </p:animEffect>
                                    <p:anim calcmode="lin" valueType="num">
                                      <p:cBhvr>
                                        <p:cTn id="30" dur="1000" fill="hold"/>
                                        <p:tgtEl>
                                          <p:spTgt spid="26"/>
                                        </p:tgtEl>
                                        <p:attrNameLst>
                                          <p:attrName>ppt_x</p:attrName>
                                        </p:attrNameLst>
                                      </p:cBhvr>
                                      <p:tavLst>
                                        <p:tav tm="0">
                                          <p:val>
                                            <p:strVal val="#ppt_x"/>
                                          </p:val>
                                        </p:tav>
                                        <p:tav tm="100000">
                                          <p:val>
                                            <p:strVal val="#ppt_x"/>
                                          </p:val>
                                        </p:tav>
                                      </p:tavLst>
                                    </p:anim>
                                    <p:anim calcmode="lin" valueType="num">
                                      <p:cBhvr>
                                        <p:cTn id="31" dur="1000" fill="hold"/>
                                        <p:tgtEl>
                                          <p:spTgt spid="26"/>
                                        </p:tgtEl>
                                        <p:attrNameLst>
                                          <p:attrName>ppt_y</p:attrName>
                                        </p:attrNameLst>
                                      </p:cBhvr>
                                      <p:tavLst>
                                        <p:tav tm="0">
                                          <p:val>
                                            <p:strVal val="#ppt_y+.1"/>
                                          </p:val>
                                        </p:tav>
                                        <p:tav tm="100000">
                                          <p:val>
                                            <p:strVal val="#ppt_y"/>
                                          </p:val>
                                        </p:tav>
                                      </p:tavLst>
                                    </p:anim>
                                  </p:childTnLst>
                                </p:cTn>
                              </p:par>
                              <p:par>
                                <p:cTn id="32" presetID="2" presetClass="entr" presetSubtype="4" decel="50000" fill="hold" nodeType="withEffect">
                                  <p:stCondLst>
                                    <p:cond delay="1000"/>
                                  </p:stCondLst>
                                  <p:childTnLst>
                                    <p:set>
                                      <p:cBhvr>
                                        <p:cTn id="33" dur="1" fill="hold">
                                          <p:stCondLst>
                                            <p:cond delay="0"/>
                                          </p:stCondLst>
                                        </p:cTn>
                                        <p:tgtEl>
                                          <p:spTgt spid="28"/>
                                        </p:tgtEl>
                                        <p:attrNameLst>
                                          <p:attrName>style.visibility</p:attrName>
                                        </p:attrNameLst>
                                      </p:cBhvr>
                                      <p:to>
                                        <p:strVal val="visible"/>
                                      </p:to>
                                    </p:set>
                                    <p:anim calcmode="lin" valueType="num">
                                      <p:cBhvr additive="base">
                                        <p:cTn id="34" dur="1500" fill="hold"/>
                                        <p:tgtEl>
                                          <p:spTgt spid="28"/>
                                        </p:tgtEl>
                                        <p:attrNameLst>
                                          <p:attrName>ppt_x</p:attrName>
                                        </p:attrNameLst>
                                      </p:cBhvr>
                                      <p:tavLst>
                                        <p:tav tm="0">
                                          <p:val>
                                            <p:strVal val="#ppt_x"/>
                                          </p:val>
                                        </p:tav>
                                        <p:tav tm="100000">
                                          <p:val>
                                            <p:strVal val="#ppt_x"/>
                                          </p:val>
                                        </p:tav>
                                      </p:tavLst>
                                    </p:anim>
                                    <p:anim calcmode="lin" valueType="num">
                                      <p:cBhvr additive="base">
                                        <p:cTn id="35" dur="1500" fill="hold"/>
                                        <p:tgtEl>
                                          <p:spTgt spid="28"/>
                                        </p:tgtEl>
                                        <p:attrNameLst>
                                          <p:attrName>ppt_y</p:attrName>
                                        </p:attrNameLst>
                                      </p:cBhvr>
                                      <p:tavLst>
                                        <p:tav tm="0">
                                          <p:val>
                                            <p:strVal val="1+#ppt_h/2"/>
                                          </p:val>
                                        </p:tav>
                                        <p:tav tm="100000">
                                          <p:val>
                                            <p:strVal val="#ppt_y"/>
                                          </p:val>
                                        </p:tav>
                                      </p:tavLst>
                                    </p:anim>
                                  </p:childTnLst>
                                </p:cTn>
                              </p:par>
                              <p:par>
                                <p:cTn id="36" presetID="2" presetClass="entr" presetSubtype="4" decel="50000" fill="hold" nodeType="withEffect">
                                  <p:stCondLst>
                                    <p:cond delay="1000"/>
                                  </p:stCondLst>
                                  <p:childTnLst>
                                    <p:set>
                                      <p:cBhvr>
                                        <p:cTn id="37" dur="1" fill="hold">
                                          <p:stCondLst>
                                            <p:cond delay="0"/>
                                          </p:stCondLst>
                                        </p:cTn>
                                        <p:tgtEl>
                                          <p:spTgt spid="32"/>
                                        </p:tgtEl>
                                        <p:attrNameLst>
                                          <p:attrName>style.visibility</p:attrName>
                                        </p:attrNameLst>
                                      </p:cBhvr>
                                      <p:to>
                                        <p:strVal val="visible"/>
                                      </p:to>
                                    </p:set>
                                    <p:anim calcmode="lin" valueType="num">
                                      <p:cBhvr additive="base">
                                        <p:cTn id="38" dur="1500" fill="hold"/>
                                        <p:tgtEl>
                                          <p:spTgt spid="32"/>
                                        </p:tgtEl>
                                        <p:attrNameLst>
                                          <p:attrName>ppt_x</p:attrName>
                                        </p:attrNameLst>
                                      </p:cBhvr>
                                      <p:tavLst>
                                        <p:tav tm="0">
                                          <p:val>
                                            <p:strVal val="#ppt_x"/>
                                          </p:val>
                                        </p:tav>
                                        <p:tav tm="100000">
                                          <p:val>
                                            <p:strVal val="#ppt_x"/>
                                          </p:val>
                                        </p:tav>
                                      </p:tavLst>
                                    </p:anim>
                                    <p:anim calcmode="lin" valueType="num">
                                      <p:cBhvr additive="base">
                                        <p:cTn id="39" dur="1500" fill="hold"/>
                                        <p:tgtEl>
                                          <p:spTgt spid="32"/>
                                        </p:tgtEl>
                                        <p:attrNameLst>
                                          <p:attrName>ppt_y</p:attrName>
                                        </p:attrNameLst>
                                      </p:cBhvr>
                                      <p:tavLst>
                                        <p:tav tm="0">
                                          <p:val>
                                            <p:strVal val="1+#ppt_h/2"/>
                                          </p:val>
                                        </p:tav>
                                        <p:tav tm="100000">
                                          <p:val>
                                            <p:strVal val="#ppt_y"/>
                                          </p:val>
                                        </p:tav>
                                      </p:tavLst>
                                    </p:anim>
                                  </p:childTnLst>
                                </p:cTn>
                              </p:par>
                              <p:par>
                                <p:cTn id="40" presetID="2" presetClass="entr" presetSubtype="4" decel="50000" fill="hold" nodeType="withEffect">
                                  <p:stCondLst>
                                    <p:cond delay="1000"/>
                                  </p:stCondLst>
                                  <p:childTnLst>
                                    <p:set>
                                      <p:cBhvr>
                                        <p:cTn id="41" dur="1" fill="hold">
                                          <p:stCondLst>
                                            <p:cond delay="0"/>
                                          </p:stCondLst>
                                        </p:cTn>
                                        <p:tgtEl>
                                          <p:spTgt spid="41"/>
                                        </p:tgtEl>
                                        <p:attrNameLst>
                                          <p:attrName>style.visibility</p:attrName>
                                        </p:attrNameLst>
                                      </p:cBhvr>
                                      <p:to>
                                        <p:strVal val="visible"/>
                                      </p:to>
                                    </p:set>
                                    <p:anim calcmode="lin" valueType="num">
                                      <p:cBhvr additive="base">
                                        <p:cTn id="42" dur="1500" fill="hold"/>
                                        <p:tgtEl>
                                          <p:spTgt spid="41"/>
                                        </p:tgtEl>
                                        <p:attrNameLst>
                                          <p:attrName>ppt_x</p:attrName>
                                        </p:attrNameLst>
                                      </p:cBhvr>
                                      <p:tavLst>
                                        <p:tav tm="0">
                                          <p:val>
                                            <p:strVal val="#ppt_x"/>
                                          </p:val>
                                        </p:tav>
                                        <p:tav tm="100000">
                                          <p:val>
                                            <p:strVal val="#ppt_x"/>
                                          </p:val>
                                        </p:tav>
                                      </p:tavLst>
                                    </p:anim>
                                    <p:anim calcmode="lin" valueType="num">
                                      <p:cBhvr additive="base">
                                        <p:cTn id="43" dur="1500" fill="hold"/>
                                        <p:tgtEl>
                                          <p:spTgt spid="41"/>
                                        </p:tgtEl>
                                        <p:attrNameLst>
                                          <p:attrName>ppt_y</p:attrName>
                                        </p:attrNameLst>
                                      </p:cBhvr>
                                      <p:tavLst>
                                        <p:tav tm="0">
                                          <p:val>
                                            <p:strVal val="1+#ppt_h/2"/>
                                          </p:val>
                                        </p:tav>
                                        <p:tav tm="100000">
                                          <p:val>
                                            <p:strVal val="#ppt_y"/>
                                          </p:val>
                                        </p:tav>
                                      </p:tavLst>
                                    </p:anim>
                                  </p:childTnLst>
                                </p:cTn>
                              </p:par>
                              <p:par>
                                <p:cTn id="44" presetID="42" presetClass="entr" presetSubtype="0" fill="hold" grpId="0" nodeType="withEffect">
                                  <p:stCondLst>
                                    <p:cond delay="3000"/>
                                  </p:stCondLst>
                                  <p:childTnLst>
                                    <p:set>
                                      <p:cBhvr>
                                        <p:cTn id="45" dur="1" fill="hold">
                                          <p:stCondLst>
                                            <p:cond delay="0"/>
                                          </p:stCondLst>
                                        </p:cTn>
                                        <p:tgtEl>
                                          <p:spTgt spid="45"/>
                                        </p:tgtEl>
                                        <p:attrNameLst>
                                          <p:attrName>style.visibility</p:attrName>
                                        </p:attrNameLst>
                                      </p:cBhvr>
                                      <p:to>
                                        <p:strVal val="visible"/>
                                      </p:to>
                                    </p:set>
                                    <p:animEffect transition="in" filter="fade">
                                      <p:cBhvr>
                                        <p:cTn id="46" dur="1000"/>
                                        <p:tgtEl>
                                          <p:spTgt spid="45"/>
                                        </p:tgtEl>
                                      </p:cBhvr>
                                    </p:animEffect>
                                    <p:anim calcmode="lin" valueType="num">
                                      <p:cBhvr>
                                        <p:cTn id="47" dur="1000" fill="hold"/>
                                        <p:tgtEl>
                                          <p:spTgt spid="45"/>
                                        </p:tgtEl>
                                        <p:attrNameLst>
                                          <p:attrName>ppt_x</p:attrName>
                                        </p:attrNameLst>
                                      </p:cBhvr>
                                      <p:tavLst>
                                        <p:tav tm="0">
                                          <p:val>
                                            <p:strVal val="#ppt_x"/>
                                          </p:val>
                                        </p:tav>
                                        <p:tav tm="100000">
                                          <p:val>
                                            <p:strVal val="#ppt_x"/>
                                          </p:val>
                                        </p:tav>
                                      </p:tavLst>
                                    </p:anim>
                                    <p:anim calcmode="lin" valueType="num">
                                      <p:cBhvr>
                                        <p:cTn id="48" dur="1000" fill="hold"/>
                                        <p:tgtEl>
                                          <p:spTgt spid="45"/>
                                        </p:tgtEl>
                                        <p:attrNameLst>
                                          <p:attrName>ppt_y</p:attrName>
                                        </p:attrNameLst>
                                      </p:cBhvr>
                                      <p:tavLst>
                                        <p:tav tm="0">
                                          <p:val>
                                            <p:strVal val="#ppt_y+.1"/>
                                          </p:val>
                                        </p:tav>
                                        <p:tav tm="100000">
                                          <p:val>
                                            <p:strVal val="#ppt_y"/>
                                          </p:val>
                                        </p:tav>
                                      </p:tavLst>
                                    </p:anim>
                                  </p:childTnLst>
                                </p:cTn>
                              </p:par>
                              <p:par>
                                <p:cTn id="49" presetID="42" presetClass="entr" presetSubtype="0" fill="hold" grpId="0" nodeType="withEffect">
                                  <p:stCondLst>
                                    <p:cond delay="3000"/>
                                  </p:stCondLst>
                                  <p:childTnLst>
                                    <p:set>
                                      <p:cBhvr>
                                        <p:cTn id="50" dur="1" fill="hold">
                                          <p:stCondLst>
                                            <p:cond delay="0"/>
                                          </p:stCondLst>
                                        </p:cTn>
                                        <p:tgtEl>
                                          <p:spTgt spid="46"/>
                                        </p:tgtEl>
                                        <p:attrNameLst>
                                          <p:attrName>style.visibility</p:attrName>
                                        </p:attrNameLst>
                                      </p:cBhvr>
                                      <p:to>
                                        <p:strVal val="visible"/>
                                      </p:to>
                                    </p:set>
                                    <p:animEffect transition="in" filter="fade">
                                      <p:cBhvr>
                                        <p:cTn id="51" dur="1000"/>
                                        <p:tgtEl>
                                          <p:spTgt spid="46"/>
                                        </p:tgtEl>
                                      </p:cBhvr>
                                    </p:animEffect>
                                    <p:anim calcmode="lin" valueType="num">
                                      <p:cBhvr>
                                        <p:cTn id="52" dur="1000" fill="hold"/>
                                        <p:tgtEl>
                                          <p:spTgt spid="46"/>
                                        </p:tgtEl>
                                        <p:attrNameLst>
                                          <p:attrName>ppt_x</p:attrName>
                                        </p:attrNameLst>
                                      </p:cBhvr>
                                      <p:tavLst>
                                        <p:tav tm="0">
                                          <p:val>
                                            <p:strVal val="#ppt_x"/>
                                          </p:val>
                                        </p:tav>
                                        <p:tav tm="100000">
                                          <p:val>
                                            <p:strVal val="#ppt_x"/>
                                          </p:val>
                                        </p:tav>
                                      </p:tavLst>
                                    </p:anim>
                                    <p:anim calcmode="lin" valueType="num">
                                      <p:cBhvr>
                                        <p:cTn id="53" dur="1000" fill="hold"/>
                                        <p:tgtEl>
                                          <p:spTgt spid="46"/>
                                        </p:tgtEl>
                                        <p:attrNameLst>
                                          <p:attrName>ppt_y</p:attrName>
                                        </p:attrNameLst>
                                      </p:cBhvr>
                                      <p:tavLst>
                                        <p:tav tm="0">
                                          <p:val>
                                            <p:strVal val="#ppt_y+.1"/>
                                          </p:val>
                                        </p:tav>
                                        <p:tav tm="100000">
                                          <p:val>
                                            <p:strVal val="#ppt_y"/>
                                          </p:val>
                                        </p:tav>
                                      </p:tavLst>
                                    </p:anim>
                                  </p:childTnLst>
                                </p:cTn>
                              </p:par>
                              <p:par>
                                <p:cTn id="54" presetID="42" presetClass="entr" presetSubtype="0" fill="hold" grpId="0" nodeType="withEffect">
                                  <p:stCondLst>
                                    <p:cond delay="3000"/>
                                  </p:stCondLst>
                                  <p:childTnLst>
                                    <p:set>
                                      <p:cBhvr>
                                        <p:cTn id="55" dur="1" fill="hold">
                                          <p:stCondLst>
                                            <p:cond delay="0"/>
                                          </p:stCondLst>
                                        </p:cTn>
                                        <p:tgtEl>
                                          <p:spTgt spid="47"/>
                                        </p:tgtEl>
                                        <p:attrNameLst>
                                          <p:attrName>style.visibility</p:attrName>
                                        </p:attrNameLst>
                                      </p:cBhvr>
                                      <p:to>
                                        <p:strVal val="visible"/>
                                      </p:to>
                                    </p:set>
                                    <p:animEffect transition="in" filter="fade">
                                      <p:cBhvr>
                                        <p:cTn id="56" dur="1000"/>
                                        <p:tgtEl>
                                          <p:spTgt spid="47"/>
                                        </p:tgtEl>
                                      </p:cBhvr>
                                    </p:animEffect>
                                    <p:anim calcmode="lin" valueType="num">
                                      <p:cBhvr>
                                        <p:cTn id="57" dur="1000" fill="hold"/>
                                        <p:tgtEl>
                                          <p:spTgt spid="47"/>
                                        </p:tgtEl>
                                        <p:attrNameLst>
                                          <p:attrName>ppt_x</p:attrName>
                                        </p:attrNameLst>
                                      </p:cBhvr>
                                      <p:tavLst>
                                        <p:tav tm="0">
                                          <p:val>
                                            <p:strVal val="#ppt_x"/>
                                          </p:val>
                                        </p:tav>
                                        <p:tav tm="100000">
                                          <p:val>
                                            <p:strVal val="#ppt_x"/>
                                          </p:val>
                                        </p:tav>
                                      </p:tavLst>
                                    </p:anim>
                                    <p:anim calcmode="lin" valueType="num">
                                      <p:cBhvr>
                                        <p:cTn id="58" dur="1000" fill="hold"/>
                                        <p:tgtEl>
                                          <p:spTgt spid="4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p:bldP spid="25" grpId="0"/>
      <p:bldP spid="26" grpId="0"/>
      <p:bldP spid="45" grpId="0"/>
      <p:bldP spid="46" grpId="0"/>
      <p:bldP spid="47"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Title 4">
            <a:extLst>
              <a:ext uri="{FF2B5EF4-FFF2-40B4-BE49-F238E27FC236}">
                <a16:creationId xmlns:a16="http://schemas.microsoft.com/office/drawing/2014/main" id="{F58C420A-3AEC-4BE5-BD90-C854A306696C}"/>
              </a:ext>
            </a:extLst>
          </p:cNvPr>
          <p:cNvSpPr>
            <a:spLocks noGrp="1"/>
          </p:cNvSpPr>
          <p:nvPr/>
        </p:nvSpPr>
        <p:spPr bwMode="gray">
          <a:xfrm>
            <a:off x="339761" y="-46047"/>
            <a:ext cx="6868883" cy="1343025"/>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lang="en-ZA" sz="3600" kern="1200" spc="-150" dirty="0">
                <a:solidFill>
                  <a:schemeClr val="bg1"/>
                </a:solidFill>
                <a:latin typeface="+mj-lt"/>
                <a:ea typeface="+mj-ea"/>
                <a:cs typeface="+mj-cs"/>
              </a:defRPr>
            </a:lvl1pPr>
          </a:lstStyle>
          <a:p>
            <a:r>
              <a:rPr lang="en-ZA">
                <a:solidFill>
                  <a:schemeClr val="tx1"/>
                </a:solidFill>
              </a:rPr>
              <a:t>Microsoft Automated ML Differentiators</a:t>
            </a:r>
          </a:p>
        </p:txBody>
      </p:sp>
      <p:cxnSp>
        <p:nvCxnSpPr>
          <p:cNvPr id="37" name="Straight Connector 36" title="Divider Line">
            <a:extLst>
              <a:ext uri="{FF2B5EF4-FFF2-40B4-BE49-F238E27FC236}">
                <a16:creationId xmlns:a16="http://schemas.microsoft.com/office/drawing/2014/main" id="{3E48293B-B086-4048-863C-47E7C47880A1}"/>
              </a:ext>
            </a:extLst>
          </p:cNvPr>
          <p:cNvCxnSpPr>
            <a:cxnSpLocks/>
          </p:cNvCxnSpPr>
          <p:nvPr/>
        </p:nvCxnSpPr>
        <p:spPr bwMode="gray">
          <a:xfrm>
            <a:off x="339761" y="1463666"/>
            <a:ext cx="3683760" cy="0"/>
          </a:xfrm>
          <a:prstGeom prst="line">
            <a:avLst/>
          </a:prstGeom>
          <a:ln>
            <a:gradFill>
              <a:gsLst>
                <a:gs pos="0">
                  <a:schemeClr val="accent1"/>
                </a:gs>
                <a:gs pos="51300">
                  <a:schemeClr val="accent2"/>
                </a:gs>
                <a:gs pos="100000">
                  <a:schemeClr val="accent3"/>
                </a:gs>
              </a:gsLst>
              <a:lin ang="0" scaled="0"/>
            </a:gradFill>
          </a:ln>
        </p:spPr>
        <p:style>
          <a:lnRef idx="1">
            <a:schemeClr val="accent1"/>
          </a:lnRef>
          <a:fillRef idx="0">
            <a:schemeClr val="accent1"/>
          </a:fillRef>
          <a:effectRef idx="0">
            <a:schemeClr val="accent1"/>
          </a:effectRef>
          <a:fontRef idx="minor">
            <a:schemeClr val="tx1"/>
          </a:fontRef>
        </p:style>
      </p:cxnSp>
      <p:sp>
        <p:nvSpPr>
          <p:cNvPr id="44" name="Rectangle 43" title="Icon Background">
            <a:extLst>
              <a:ext uri="{FF2B5EF4-FFF2-40B4-BE49-F238E27FC236}">
                <a16:creationId xmlns:a16="http://schemas.microsoft.com/office/drawing/2014/main" id="{056960D0-0A22-4E28-82F3-B9AA805E96A4}"/>
              </a:ext>
            </a:extLst>
          </p:cNvPr>
          <p:cNvSpPr/>
          <p:nvPr/>
        </p:nvSpPr>
        <p:spPr>
          <a:xfrm>
            <a:off x="1023038" y="1748822"/>
            <a:ext cx="1114422" cy="11144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ZA">
              <a:solidFill>
                <a:schemeClr val="tx1"/>
              </a:solidFill>
            </a:endParaRPr>
          </a:p>
        </p:txBody>
      </p:sp>
      <p:sp>
        <p:nvSpPr>
          <p:cNvPr id="46" name="Text Placeholder 3">
            <a:extLst>
              <a:ext uri="{FF2B5EF4-FFF2-40B4-BE49-F238E27FC236}">
                <a16:creationId xmlns:a16="http://schemas.microsoft.com/office/drawing/2014/main" id="{27325661-92B1-4FD6-80E6-C1A1C5F5B8BA}"/>
              </a:ext>
            </a:extLst>
          </p:cNvPr>
          <p:cNvSpPr>
            <a:spLocks noGrp="1"/>
          </p:cNvSpPr>
          <p:nvPr/>
        </p:nvSpPr>
        <p:spPr>
          <a:xfrm>
            <a:off x="615748" y="2935347"/>
            <a:ext cx="1864501" cy="360000"/>
          </a:xfrm>
          <a:prstGeom prst="rect">
            <a:avLst/>
          </a:prstGeom>
        </p:spPr>
        <p:txBody>
          <a:bodyPr vert="horz" lIns="0" tIns="0" rIns="0" bIns="0" rtlCol="0">
            <a:noAutofit/>
          </a:bodyPr>
          <a:lstStyle>
            <a:lvl1pPr marL="0" indent="0" algn="ctr" defTabSz="914400" rtl="0" eaLnBrk="1" latinLnBrk="0" hangingPunct="1">
              <a:lnSpc>
                <a:spcPct val="100000"/>
              </a:lnSpc>
              <a:spcBef>
                <a:spcPts val="1000"/>
              </a:spcBef>
              <a:spcAft>
                <a:spcPts val="500"/>
              </a:spcAft>
              <a:buClr>
                <a:schemeClr val="accent1"/>
              </a:buClr>
              <a:buFont typeface="Arial" panose="020B0604020202020204" pitchFamily="34" charset="0"/>
              <a:buNone/>
              <a:defRPr sz="1800" kern="1200">
                <a:solidFill>
                  <a:schemeClr val="tx1">
                    <a:lumMod val="75000"/>
                    <a:lumOff val="25000"/>
                  </a:schemeClr>
                </a:solidFill>
                <a:latin typeface="+mn-lt"/>
                <a:ea typeface="+mn-ea"/>
                <a:cs typeface="+mn-cs"/>
              </a:defRPr>
            </a:lvl1pPr>
            <a:lvl2pPr marL="542925" indent="-276225" algn="l" defTabSz="914400" rtl="0" eaLnBrk="1" latinLnBrk="0" hangingPunct="1">
              <a:lnSpc>
                <a:spcPct val="100000"/>
              </a:lnSpc>
              <a:spcBef>
                <a:spcPts val="500"/>
              </a:spcBef>
              <a:spcAft>
                <a:spcPts val="500"/>
              </a:spcAft>
              <a:buFont typeface="Arial" panose="020B0604020202020204" pitchFamily="34" charset="0"/>
              <a:buChar char="•"/>
              <a:defRPr sz="1600" kern="1200">
                <a:solidFill>
                  <a:schemeClr val="tx2"/>
                </a:solidFill>
                <a:latin typeface="+mn-lt"/>
                <a:ea typeface="+mn-ea"/>
                <a:cs typeface="+mn-cs"/>
              </a:defRPr>
            </a:lvl2pPr>
            <a:lvl3pPr marL="809625" indent="-266700" algn="l" defTabSz="914400" rtl="0" eaLnBrk="1" latinLnBrk="0" hangingPunct="1">
              <a:lnSpc>
                <a:spcPct val="100000"/>
              </a:lnSpc>
              <a:spcBef>
                <a:spcPts val="500"/>
              </a:spcBef>
              <a:spcAft>
                <a:spcPts val="500"/>
              </a:spcAft>
              <a:buFont typeface="Arial" panose="020B0604020202020204" pitchFamily="34" charset="0"/>
              <a:buChar char="•"/>
              <a:defRPr sz="1600" kern="1200">
                <a:solidFill>
                  <a:schemeClr val="tx2"/>
                </a:solidFill>
                <a:latin typeface="+mn-lt"/>
                <a:ea typeface="+mn-ea"/>
                <a:cs typeface="+mn-cs"/>
              </a:defRPr>
            </a:lvl3pPr>
            <a:lvl4pPr marL="1076325" indent="-266700" algn="l" defTabSz="914400" rtl="0" eaLnBrk="1" latinLnBrk="0" hangingPunct="1">
              <a:lnSpc>
                <a:spcPct val="100000"/>
              </a:lnSpc>
              <a:spcBef>
                <a:spcPts val="500"/>
              </a:spcBef>
              <a:spcAft>
                <a:spcPts val="500"/>
              </a:spcAft>
              <a:buFont typeface="Arial" panose="020B0604020202020204" pitchFamily="34" charset="0"/>
              <a:buChar char="•"/>
              <a:defRPr sz="1400" kern="1200">
                <a:solidFill>
                  <a:schemeClr val="tx2"/>
                </a:solidFill>
                <a:latin typeface="+mn-lt"/>
                <a:ea typeface="+mn-ea"/>
                <a:cs typeface="+mn-cs"/>
              </a:defRPr>
            </a:lvl4pPr>
            <a:lvl5pPr marL="1343025" indent="-266700" algn="l" defTabSz="914400" rtl="0" eaLnBrk="1" latinLnBrk="0" hangingPunct="1">
              <a:lnSpc>
                <a:spcPct val="100000"/>
              </a:lnSpc>
              <a:spcBef>
                <a:spcPts val="500"/>
              </a:spcBef>
              <a:spcAft>
                <a:spcPts val="500"/>
              </a:spcAft>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solidFill>
                  <a:schemeClr val="tx1"/>
                </a:solidFill>
              </a:rPr>
              <a:t>Azure Cloud offering</a:t>
            </a:r>
            <a:endParaRPr lang="en-US">
              <a:solidFill>
                <a:schemeClr val="tx1"/>
              </a:solidFill>
              <a:cs typeface="Calibri"/>
            </a:endParaRPr>
          </a:p>
        </p:txBody>
      </p:sp>
      <p:cxnSp>
        <p:nvCxnSpPr>
          <p:cNvPr id="47" name="Straight Connector 46" title="Divider Line">
            <a:extLst>
              <a:ext uri="{FF2B5EF4-FFF2-40B4-BE49-F238E27FC236}">
                <a16:creationId xmlns:a16="http://schemas.microsoft.com/office/drawing/2014/main" id="{4EAA895A-8A04-4C68-83A5-3E4F5209FB7E}"/>
              </a:ext>
            </a:extLst>
          </p:cNvPr>
          <p:cNvCxnSpPr>
            <a:cxnSpLocks/>
          </p:cNvCxnSpPr>
          <p:nvPr/>
        </p:nvCxnSpPr>
        <p:spPr>
          <a:xfrm>
            <a:off x="806249" y="3497644"/>
            <a:ext cx="1548000"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48" name="Text Placeholder 12">
            <a:extLst>
              <a:ext uri="{FF2B5EF4-FFF2-40B4-BE49-F238E27FC236}">
                <a16:creationId xmlns:a16="http://schemas.microsoft.com/office/drawing/2014/main" id="{C32C294C-1590-42EF-AA55-43D984432B57}"/>
              </a:ext>
            </a:extLst>
          </p:cNvPr>
          <p:cNvSpPr>
            <a:spLocks noGrp="1"/>
          </p:cNvSpPr>
          <p:nvPr/>
        </p:nvSpPr>
        <p:spPr>
          <a:xfrm>
            <a:off x="806249" y="3653912"/>
            <a:ext cx="1800000" cy="720000"/>
          </a:xfrm>
          <a:prstGeom prst="rect">
            <a:avLst/>
          </a:prstGeom>
        </p:spPr>
        <p:txBody>
          <a:bodyPr vert="horz" lIns="0" tIns="0" rIns="0" bIns="0" rtlCol="0">
            <a:noAutofit/>
          </a:bodyPr>
          <a:lstStyle>
            <a:lvl1pPr marL="0" indent="0" algn="ctr" defTabSz="914400" rtl="0" eaLnBrk="1" latinLnBrk="0" hangingPunct="1">
              <a:lnSpc>
                <a:spcPct val="100000"/>
              </a:lnSpc>
              <a:spcBef>
                <a:spcPts val="1000"/>
              </a:spcBef>
              <a:spcAft>
                <a:spcPts val="500"/>
              </a:spcAft>
              <a:buClr>
                <a:schemeClr val="accent1"/>
              </a:buClr>
              <a:buFont typeface="Arial" panose="020B0604020202020204" pitchFamily="34" charset="0"/>
              <a:buNone/>
              <a:defRPr sz="1400" kern="1200">
                <a:solidFill>
                  <a:schemeClr val="tx1">
                    <a:lumMod val="75000"/>
                    <a:lumOff val="25000"/>
                  </a:schemeClr>
                </a:solidFill>
                <a:latin typeface="+mn-lt"/>
                <a:ea typeface="+mn-ea"/>
                <a:cs typeface="+mn-cs"/>
              </a:defRPr>
            </a:lvl1pPr>
            <a:lvl2pPr marL="542925" indent="-276225" algn="l" defTabSz="914400" rtl="0" eaLnBrk="1" latinLnBrk="0" hangingPunct="1">
              <a:lnSpc>
                <a:spcPct val="100000"/>
              </a:lnSpc>
              <a:spcBef>
                <a:spcPts val="500"/>
              </a:spcBef>
              <a:spcAft>
                <a:spcPts val="500"/>
              </a:spcAft>
              <a:buFont typeface="Arial" panose="020B0604020202020204" pitchFamily="34" charset="0"/>
              <a:buChar char="•"/>
              <a:defRPr sz="1600" kern="1200">
                <a:solidFill>
                  <a:schemeClr val="tx2"/>
                </a:solidFill>
                <a:latin typeface="+mn-lt"/>
                <a:ea typeface="+mn-ea"/>
                <a:cs typeface="+mn-cs"/>
              </a:defRPr>
            </a:lvl2pPr>
            <a:lvl3pPr marL="809625" indent="-266700" algn="l" defTabSz="914400" rtl="0" eaLnBrk="1" latinLnBrk="0" hangingPunct="1">
              <a:lnSpc>
                <a:spcPct val="100000"/>
              </a:lnSpc>
              <a:spcBef>
                <a:spcPts val="500"/>
              </a:spcBef>
              <a:spcAft>
                <a:spcPts val="500"/>
              </a:spcAft>
              <a:buFont typeface="Arial" panose="020B0604020202020204" pitchFamily="34" charset="0"/>
              <a:buChar char="•"/>
              <a:defRPr sz="1600" kern="1200">
                <a:solidFill>
                  <a:schemeClr val="tx2"/>
                </a:solidFill>
                <a:latin typeface="+mn-lt"/>
                <a:ea typeface="+mn-ea"/>
                <a:cs typeface="+mn-cs"/>
              </a:defRPr>
            </a:lvl3pPr>
            <a:lvl4pPr marL="1076325" indent="-266700" algn="l" defTabSz="914400" rtl="0" eaLnBrk="1" latinLnBrk="0" hangingPunct="1">
              <a:lnSpc>
                <a:spcPct val="100000"/>
              </a:lnSpc>
              <a:spcBef>
                <a:spcPts val="500"/>
              </a:spcBef>
              <a:spcAft>
                <a:spcPts val="500"/>
              </a:spcAft>
              <a:buFont typeface="Arial" panose="020B0604020202020204" pitchFamily="34" charset="0"/>
              <a:buChar char="•"/>
              <a:defRPr sz="1400" kern="1200">
                <a:solidFill>
                  <a:schemeClr val="tx2"/>
                </a:solidFill>
                <a:latin typeface="+mn-lt"/>
                <a:ea typeface="+mn-ea"/>
                <a:cs typeface="+mn-cs"/>
              </a:defRPr>
            </a:lvl4pPr>
            <a:lvl5pPr marL="1343025" indent="-266700" algn="l" defTabSz="914400" rtl="0" eaLnBrk="1" latinLnBrk="0" hangingPunct="1">
              <a:lnSpc>
                <a:spcPct val="100000"/>
              </a:lnSpc>
              <a:spcBef>
                <a:spcPts val="500"/>
              </a:spcBef>
              <a:spcAft>
                <a:spcPts val="500"/>
              </a:spcAft>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solidFill>
                  <a:schemeClr val="tx1"/>
                </a:solidFill>
              </a:rPr>
              <a:t>Is a part of Azure Cloud</a:t>
            </a:r>
            <a:endParaRPr lang="en-ZA">
              <a:solidFill>
                <a:schemeClr val="tx1"/>
              </a:solidFill>
            </a:endParaRPr>
          </a:p>
        </p:txBody>
      </p:sp>
      <p:sp>
        <p:nvSpPr>
          <p:cNvPr id="49" name="Rectangle 48" title="Icon Background">
            <a:extLst>
              <a:ext uri="{FF2B5EF4-FFF2-40B4-BE49-F238E27FC236}">
                <a16:creationId xmlns:a16="http://schemas.microsoft.com/office/drawing/2014/main" id="{7AEBBE7F-98BB-4059-8F15-7198C7DAC337}"/>
              </a:ext>
            </a:extLst>
          </p:cNvPr>
          <p:cNvSpPr/>
          <p:nvPr/>
        </p:nvSpPr>
        <p:spPr>
          <a:xfrm>
            <a:off x="3903223" y="1748822"/>
            <a:ext cx="1114422" cy="11144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ZA">
              <a:solidFill>
                <a:schemeClr val="tx1"/>
              </a:solidFill>
            </a:endParaRPr>
          </a:p>
        </p:txBody>
      </p:sp>
      <p:sp>
        <p:nvSpPr>
          <p:cNvPr id="51" name="Text Placeholder 5">
            <a:extLst>
              <a:ext uri="{FF2B5EF4-FFF2-40B4-BE49-F238E27FC236}">
                <a16:creationId xmlns:a16="http://schemas.microsoft.com/office/drawing/2014/main" id="{0F0E443A-F987-4A67-86AD-557D61E47992}"/>
              </a:ext>
            </a:extLst>
          </p:cNvPr>
          <p:cNvSpPr>
            <a:spLocks noGrp="1"/>
          </p:cNvSpPr>
          <p:nvPr/>
        </p:nvSpPr>
        <p:spPr>
          <a:xfrm>
            <a:off x="3560434" y="3000444"/>
            <a:ext cx="1800000" cy="360000"/>
          </a:xfrm>
          <a:prstGeom prst="rect">
            <a:avLst/>
          </a:prstGeom>
        </p:spPr>
        <p:txBody>
          <a:bodyPr vert="horz" lIns="0" tIns="0" rIns="0" bIns="0" rtlCol="0">
            <a:noAutofit/>
          </a:bodyPr>
          <a:lstStyle>
            <a:lvl1pPr marL="0" indent="0" algn="ctr" defTabSz="914400" rtl="0" eaLnBrk="1" latinLnBrk="0" hangingPunct="1">
              <a:lnSpc>
                <a:spcPct val="100000"/>
              </a:lnSpc>
              <a:spcBef>
                <a:spcPts val="1000"/>
              </a:spcBef>
              <a:spcAft>
                <a:spcPts val="500"/>
              </a:spcAft>
              <a:buClr>
                <a:schemeClr val="accent1"/>
              </a:buClr>
              <a:buFont typeface="Arial" panose="020B0604020202020204" pitchFamily="34" charset="0"/>
              <a:buNone/>
              <a:defRPr sz="1800" kern="1200">
                <a:solidFill>
                  <a:schemeClr val="tx1">
                    <a:lumMod val="75000"/>
                    <a:lumOff val="25000"/>
                  </a:schemeClr>
                </a:solidFill>
                <a:latin typeface="+mn-lt"/>
                <a:ea typeface="+mn-ea"/>
                <a:cs typeface="+mn-cs"/>
              </a:defRPr>
            </a:lvl1pPr>
            <a:lvl2pPr marL="542925" indent="-276225" algn="l" defTabSz="914400" rtl="0" eaLnBrk="1" latinLnBrk="0" hangingPunct="1">
              <a:lnSpc>
                <a:spcPct val="100000"/>
              </a:lnSpc>
              <a:spcBef>
                <a:spcPts val="500"/>
              </a:spcBef>
              <a:spcAft>
                <a:spcPts val="500"/>
              </a:spcAft>
              <a:buFont typeface="Arial" panose="020B0604020202020204" pitchFamily="34" charset="0"/>
              <a:buChar char="•"/>
              <a:defRPr sz="1600" kern="1200">
                <a:solidFill>
                  <a:schemeClr val="tx2"/>
                </a:solidFill>
                <a:latin typeface="+mn-lt"/>
                <a:ea typeface="+mn-ea"/>
                <a:cs typeface="+mn-cs"/>
              </a:defRPr>
            </a:lvl2pPr>
            <a:lvl3pPr marL="809625" indent="-266700" algn="l" defTabSz="914400" rtl="0" eaLnBrk="1" latinLnBrk="0" hangingPunct="1">
              <a:lnSpc>
                <a:spcPct val="100000"/>
              </a:lnSpc>
              <a:spcBef>
                <a:spcPts val="500"/>
              </a:spcBef>
              <a:spcAft>
                <a:spcPts val="500"/>
              </a:spcAft>
              <a:buFont typeface="Arial" panose="020B0604020202020204" pitchFamily="34" charset="0"/>
              <a:buChar char="•"/>
              <a:defRPr sz="1600" kern="1200">
                <a:solidFill>
                  <a:schemeClr val="tx2"/>
                </a:solidFill>
                <a:latin typeface="+mn-lt"/>
                <a:ea typeface="+mn-ea"/>
                <a:cs typeface="+mn-cs"/>
              </a:defRPr>
            </a:lvl3pPr>
            <a:lvl4pPr marL="1076325" indent="-266700" algn="l" defTabSz="914400" rtl="0" eaLnBrk="1" latinLnBrk="0" hangingPunct="1">
              <a:lnSpc>
                <a:spcPct val="100000"/>
              </a:lnSpc>
              <a:spcBef>
                <a:spcPts val="500"/>
              </a:spcBef>
              <a:spcAft>
                <a:spcPts val="500"/>
              </a:spcAft>
              <a:buFont typeface="Arial" panose="020B0604020202020204" pitchFamily="34" charset="0"/>
              <a:buChar char="•"/>
              <a:defRPr sz="1400" kern="1200">
                <a:solidFill>
                  <a:schemeClr val="tx2"/>
                </a:solidFill>
                <a:latin typeface="+mn-lt"/>
                <a:ea typeface="+mn-ea"/>
                <a:cs typeface="+mn-cs"/>
              </a:defRPr>
            </a:lvl4pPr>
            <a:lvl5pPr marL="1343025" indent="-266700" algn="l" defTabSz="914400" rtl="0" eaLnBrk="1" latinLnBrk="0" hangingPunct="1">
              <a:lnSpc>
                <a:spcPct val="100000"/>
              </a:lnSpc>
              <a:spcBef>
                <a:spcPts val="500"/>
              </a:spcBef>
              <a:spcAft>
                <a:spcPts val="500"/>
              </a:spcAft>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solidFill>
                  <a:schemeClr val="tx1"/>
                </a:solidFill>
              </a:rPr>
              <a:t>Data privacy</a:t>
            </a:r>
            <a:endParaRPr lang="en-ZA">
              <a:solidFill>
                <a:schemeClr val="tx1"/>
              </a:solidFill>
            </a:endParaRPr>
          </a:p>
        </p:txBody>
      </p:sp>
      <p:cxnSp>
        <p:nvCxnSpPr>
          <p:cNvPr id="52" name="Straight Connector 51" title="Divider Line">
            <a:extLst>
              <a:ext uri="{FF2B5EF4-FFF2-40B4-BE49-F238E27FC236}">
                <a16:creationId xmlns:a16="http://schemas.microsoft.com/office/drawing/2014/main" id="{FDEE8591-D916-4064-8CD3-2AD3F759B9E2}"/>
              </a:ext>
            </a:extLst>
          </p:cNvPr>
          <p:cNvCxnSpPr>
            <a:cxnSpLocks/>
          </p:cNvCxnSpPr>
          <p:nvPr/>
        </p:nvCxnSpPr>
        <p:spPr>
          <a:xfrm>
            <a:off x="3686434" y="3497644"/>
            <a:ext cx="1548000"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53" name="Text Placeholder 6">
            <a:extLst>
              <a:ext uri="{FF2B5EF4-FFF2-40B4-BE49-F238E27FC236}">
                <a16:creationId xmlns:a16="http://schemas.microsoft.com/office/drawing/2014/main" id="{34535CB7-70A5-4E0C-835B-C50960E5BC69}"/>
              </a:ext>
            </a:extLst>
          </p:cNvPr>
          <p:cNvSpPr>
            <a:spLocks noGrp="1"/>
          </p:cNvSpPr>
          <p:nvPr/>
        </p:nvSpPr>
        <p:spPr>
          <a:xfrm>
            <a:off x="3560434" y="3634844"/>
            <a:ext cx="1800000" cy="720000"/>
          </a:xfrm>
          <a:prstGeom prst="rect">
            <a:avLst/>
          </a:prstGeom>
        </p:spPr>
        <p:txBody>
          <a:bodyPr vert="horz" lIns="0" tIns="0" rIns="0" bIns="0" rtlCol="0">
            <a:noAutofit/>
          </a:bodyPr>
          <a:lstStyle>
            <a:lvl1pPr marL="0" indent="0" algn="ctr" defTabSz="914400" rtl="0" eaLnBrk="1" latinLnBrk="0" hangingPunct="1">
              <a:lnSpc>
                <a:spcPct val="100000"/>
              </a:lnSpc>
              <a:spcBef>
                <a:spcPts val="1000"/>
              </a:spcBef>
              <a:spcAft>
                <a:spcPts val="500"/>
              </a:spcAft>
              <a:buClr>
                <a:schemeClr val="accent1"/>
              </a:buClr>
              <a:buFont typeface="Arial" panose="020B0604020202020204" pitchFamily="34" charset="0"/>
              <a:buNone/>
              <a:defRPr sz="1400" kern="1200">
                <a:solidFill>
                  <a:schemeClr val="tx1">
                    <a:lumMod val="75000"/>
                    <a:lumOff val="25000"/>
                  </a:schemeClr>
                </a:solidFill>
                <a:latin typeface="+mn-lt"/>
                <a:ea typeface="+mn-ea"/>
                <a:cs typeface="+mn-cs"/>
              </a:defRPr>
            </a:lvl1pPr>
            <a:lvl2pPr marL="542925" indent="-276225" algn="l" defTabSz="914400" rtl="0" eaLnBrk="1" latinLnBrk="0" hangingPunct="1">
              <a:lnSpc>
                <a:spcPct val="100000"/>
              </a:lnSpc>
              <a:spcBef>
                <a:spcPts val="500"/>
              </a:spcBef>
              <a:spcAft>
                <a:spcPts val="500"/>
              </a:spcAft>
              <a:buFont typeface="Arial" panose="020B0604020202020204" pitchFamily="34" charset="0"/>
              <a:buChar char="•"/>
              <a:defRPr sz="1600" kern="1200">
                <a:solidFill>
                  <a:schemeClr val="tx2"/>
                </a:solidFill>
                <a:latin typeface="+mn-lt"/>
                <a:ea typeface="+mn-ea"/>
                <a:cs typeface="+mn-cs"/>
              </a:defRPr>
            </a:lvl2pPr>
            <a:lvl3pPr marL="809625" indent="-266700" algn="l" defTabSz="914400" rtl="0" eaLnBrk="1" latinLnBrk="0" hangingPunct="1">
              <a:lnSpc>
                <a:spcPct val="100000"/>
              </a:lnSpc>
              <a:spcBef>
                <a:spcPts val="500"/>
              </a:spcBef>
              <a:spcAft>
                <a:spcPts val="500"/>
              </a:spcAft>
              <a:buFont typeface="Arial" panose="020B0604020202020204" pitchFamily="34" charset="0"/>
              <a:buChar char="•"/>
              <a:defRPr sz="1600" kern="1200">
                <a:solidFill>
                  <a:schemeClr val="tx2"/>
                </a:solidFill>
                <a:latin typeface="+mn-lt"/>
                <a:ea typeface="+mn-ea"/>
                <a:cs typeface="+mn-cs"/>
              </a:defRPr>
            </a:lvl3pPr>
            <a:lvl4pPr marL="1076325" indent="-266700" algn="l" defTabSz="914400" rtl="0" eaLnBrk="1" latinLnBrk="0" hangingPunct="1">
              <a:lnSpc>
                <a:spcPct val="100000"/>
              </a:lnSpc>
              <a:spcBef>
                <a:spcPts val="500"/>
              </a:spcBef>
              <a:spcAft>
                <a:spcPts val="500"/>
              </a:spcAft>
              <a:buFont typeface="Arial" panose="020B0604020202020204" pitchFamily="34" charset="0"/>
              <a:buChar char="•"/>
              <a:defRPr sz="1400" kern="1200">
                <a:solidFill>
                  <a:schemeClr val="tx2"/>
                </a:solidFill>
                <a:latin typeface="+mn-lt"/>
                <a:ea typeface="+mn-ea"/>
                <a:cs typeface="+mn-cs"/>
              </a:defRPr>
            </a:lvl4pPr>
            <a:lvl5pPr marL="1343025" indent="-266700" algn="l" defTabSz="914400" rtl="0" eaLnBrk="1" latinLnBrk="0" hangingPunct="1">
              <a:lnSpc>
                <a:spcPct val="100000"/>
              </a:lnSpc>
              <a:spcBef>
                <a:spcPts val="500"/>
              </a:spcBef>
              <a:spcAft>
                <a:spcPts val="500"/>
              </a:spcAft>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solidFill>
                  <a:schemeClr val="tx1"/>
                </a:solidFill>
              </a:rPr>
              <a:t>no data movement needed</a:t>
            </a:r>
            <a:endParaRPr lang="en-ZA">
              <a:solidFill>
                <a:schemeClr val="tx1"/>
              </a:solidFill>
            </a:endParaRPr>
          </a:p>
        </p:txBody>
      </p:sp>
      <p:sp>
        <p:nvSpPr>
          <p:cNvPr id="54" name="Rectangle 53" title="Icon Background">
            <a:extLst>
              <a:ext uri="{FF2B5EF4-FFF2-40B4-BE49-F238E27FC236}">
                <a16:creationId xmlns:a16="http://schemas.microsoft.com/office/drawing/2014/main" id="{A892DD94-78B8-4911-A32B-3B174E2921B2}"/>
              </a:ext>
            </a:extLst>
          </p:cNvPr>
          <p:cNvSpPr/>
          <p:nvPr/>
        </p:nvSpPr>
        <p:spPr>
          <a:xfrm>
            <a:off x="6886503" y="1748822"/>
            <a:ext cx="1114422" cy="11144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ZA">
              <a:solidFill>
                <a:schemeClr val="tx1"/>
              </a:solidFill>
            </a:endParaRPr>
          </a:p>
        </p:txBody>
      </p:sp>
      <p:sp>
        <p:nvSpPr>
          <p:cNvPr id="56" name="Text Placeholder 7">
            <a:extLst>
              <a:ext uri="{FF2B5EF4-FFF2-40B4-BE49-F238E27FC236}">
                <a16:creationId xmlns:a16="http://schemas.microsoft.com/office/drawing/2014/main" id="{FA562AA1-9ED1-4AA1-8F21-A53B5A69CB06}"/>
              </a:ext>
            </a:extLst>
          </p:cNvPr>
          <p:cNvSpPr>
            <a:spLocks noGrp="1"/>
          </p:cNvSpPr>
          <p:nvPr/>
        </p:nvSpPr>
        <p:spPr>
          <a:xfrm>
            <a:off x="6566138" y="2935347"/>
            <a:ext cx="1800000" cy="360000"/>
          </a:xfrm>
          <a:prstGeom prst="rect">
            <a:avLst/>
          </a:prstGeom>
        </p:spPr>
        <p:txBody>
          <a:bodyPr vert="horz" lIns="0" tIns="0" rIns="0" bIns="0" rtlCol="0">
            <a:noAutofit/>
          </a:bodyPr>
          <a:lstStyle>
            <a:lvl1pPr marL="0" indent="0" algn="ctr" defTabSz="914400" rtl="0" eaLnBrk="1" latinLnBrk="0" hangingPunct="1">
              <a:lnSpc>
                <a:spcPct val="100000"/>
              </a:lnSpc>
              <a:spcBef>
                <a:spcPts val="1000"/>
              </a:spcBef>
              <a:spcAft>
                <a:spcPts val="500"/>
              </a:spcAft>
              <a:buClr>
                <a:schemeClr val="accent1"/>
              </a:buClr>
              <a:buFont typeface="Arial" panose="020B0604020202020204" pitchFamily="34" charset="0"/>
              <a:buNone/>
              <a:defRPr sz="1800" kern="1200">
                <a:solidFill>
                  <a:schemeClr val="tx1">
                    <a:lumMod val="75000"/>
                    <a:lumOff val="25000"/>
                  </a:schemeClr>
                </a:solidFill>
                <a:latin typeface="+mn-lt"/>
                <a:ea typeface="+mn-ea"/>
                <a:cs typeface="+mn-cs"/>
              </a:defRPr>
            </a:lvl1pPr>
            <a:lvl2pPr marL="542925" indent="-276225" algn="l" defTabSz="914400" rtl="0" eaLnBrk="1" latinLnBrk="0" hangingPunct="1">
              <a:lnSpc>
                <a:spcPct val="100000"/>
              </a:lnSpc>
              <a:spcBef>
                <a:spcPts val="500"/>
              </a:spcBef>
              <a:spcAft>
                <a:spcPts val="500"/>
              </a:spcAft>
              <a:buFont typeface="Arial" panose="020B0604020202020204" pitchFamily="34" charset="0"/>
              <a:buChar char="•"/>
              <a:defRPr sz="1600" kern="1200">
                <a:solidFill>
                  <a:schemeClr val="tx2"/>
                </a:solidFill>
                <a:latin typeface="+mn-lt"/>
                <a:ea typeface="+mn-ea"/>
                <a:cs typeface="+mn-cs"/>
              </a:defRPr>
            </a:lvl2pPr>
            <a:lvl3pPr marL="809625" indent="-266700" algn="l" defTabSz="914400" rtl="0" eaLnBrk="1" latinLnBrk="0" hangingPunct="1">
              <a:lnSpc>
                <a:spcPct val="100000"/>
              </a:lnSpc>
              <a:spcBef>
                <a:spcPts val="500"/>
              </a:spcBef>
              <a:spcAft>
                <a:spcPts val="500"/>
              </a:spcAft>
              <a:buFont typeface="Arial" panose="020B0604020202020204" pitchFamily="34" charset="0"/>
              <a:buChar char="•"/>
              <a:defRPr sz="1600" kern="1200">
                <a:solidFill>
                  <a:schemeClr val="tx2"/>
                </a:solidFill>
                <a:latin typeface="+mn-lt"/>
                <a:ea typeface="+mn-ea"/>
                <a:cs typeface="+mn-cs"/>
              </a:defRPr>
            </a:lvl3pPr>
            <a:lvl4pPr marL="1076325" indent="-266700" algn="l" defTabSz="914400" rtl="0" eaLnBrk="1" latinLnBrk="0" hangingPunct="1">
              <a:lnSpc>
                <a:spcPct val="100000"/>
              </a:lnSpc>
              <a:spcBef>
                <a:spcPts val="500"/>
              </a:spcBef>
              <a:spcAft>
                <a:spcPts val="500"/>
              </a:spcAft>
              <a:buFont typeface="Arial" panose="020B0604020202020204" pitchFamily="34" charset="0"/>
              <a:buChar char="•"/>
              <a:defRPr sz="1400" kern="1200">
                <a:solidFill>
                  <a:schemeClr val="tx2"/>
                </a:solidFill>
                <a:latin typeface="+mn-lt"/>
                <a:ea typeface="+mn-ea"/>
                <a:cs typeface="+mn-cs"/>
              </a:defRPr>
            </a:lvl4pPr>
            <a:lvl5pPr marL="1343025" indent="-266700" algn="l" defTabSz="914400" rtl="0" eaLnBrk="1" latinLnBrk="0" hangingPunct="1">
              <a:lnSpc>
                <a:spcPct val="100000"/>
              </a:lnSpc>
              <a:spcBef>
                <a:spcPts val="500"/>
              </a:spcBef>
              <a:spcAft>
                <a:spcPts val="500"/>
              </a:spcAft>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solidFill>
                  <a:schemeClr val="tx1"/>
                </a:solidFill>
              </a:rPr>
              <a:t>Integration with data platforms</a:t>
            </a:r>
            <a:endParaRPr lang="en-ZA">
              <a:solidFill>
                <a:schemeClr val="tx1"/>
              </a:solidFill>
            </a:endParaRPr>
          </a:p>
        </p:txBody>
      </p:sp>
      <p:cxnSp>
        <p:nvCxnSpPr>
          <p:cNvPr id="57" name="Straight Connector 56" title="Divider Line">
            <a:extLst>
              <a:ext uri="{FF2B5EF4-FFF2-40B4-BE49-F238E27FC236}">
                <a16:creationId xmlns:a16="http://schemas.microsoft.com/office/drawing/2014/main" id="{59D2C94E-1924-4389-B84A-2828D610B220}"/>
              </a:ext>
            </a:extLst>
          </p:cNvPr>
          <p:cNvCxnSpPr>
            <a:cxnSpLocks/>
          </p:cNvCxnSpPr>
          <p:nvPr/>
        </p:nvCxnSpPr>
        <p:spPr>
          <a:xfrm>
            <a:off x="6692138" y="3497644"/>
            <a:ext cx="1548000" cy="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58" name="Text Placeholder 8">
            <a:extLst>
              <a:ext uri="{FF2B5EF4-FFF2-40B4-BE49-F238E27FC236}">
                <a16:creationId xmlns:a16="http://schemas.microsoft.com/office/drawing/2014/main" id="{29E0145E-8E4E-439B-A78F-92EC279B320C}"/>
              </a:ext>
            </a:extLst>
          </p:cNvPr>
          <p:cNvSpPr>
            <a:spLocks noGrp="1"/>
          </p:cNvSpPr>
          <p:nvPr/>
        </p:nvSpPr>
        <p:spPr>
          <a:xfrm>
            <a:off x="6566138" y="3634844"/>
            <a:ext cx="2020814" cy="720000"/>
          </a:xfrm>
          <a:prstGeom prst="rect">
            <a:avLst/>
          </a:prstGeom>
        </p:spPr>
        <p:txBody>
          <a:bodyPr vert="horz" lIns="0" tIns="0" rIns="0" bIns="0" rtlCol="0">
            <a:noAutofit/>
          </a:bodyPr>
          <a:lstStyle>
            <a:lvl1pPr marL="0" indent="0" algn="ctr" defTabSz="914400" rtl="0" eaLnBrk="1" latinLnBrk="0" hangingPunct="1">
              <a:lnSpc>
                <a:spcPct val="100000"/>
              </a:lnSpc>
              <a:spcBef>
                <a:spcPts val="1000"/>
              </a:spcBef>
              <a:spcAft>
                <a:spcPts val="500"/>
              </a:spcAft>
              <a:buClr>
                <a:schemeClr val="accent1"/>
              </a:buClr>
              <a:buFont typeface="Arial" panose="020B0604020202020204" pitchFamily="34" charset="0"/>
              <a:buNone/>
              <a:defRPr sz="1400" kern="1200">
                <a:solidFill>
                  <a:schemeClr val="tx1">
                    <a:lumMod val="75000"/>
                    <a:lumOff val="25000"/>
                  </a:schemeClr>
                </a:solidFill>
                <a:latin typeface="+mn-lt"/>
                <a:ea typeface="+mn-ea"/>
                <a:cs typeface="+mn-cs"/>
              </a:defRPr>
            </a:lvl1pPr>
            <a:lvl2pPr marL="542925" indent="-276225" algn="l" defTabSz="914400" rtl="0" eaLnBrk="1" latinLnBrk="0" hangingPunct="1">
              <a:lnSpc>
                <a:spcPct val="100000"/>
              </a:lnSpc>
              <a:spcBef>
                <a:spcPts val="500"/>
              </a:spcBef>
              <a:spcAft>
                <a:spcPts val="500"/>
              </a:spcAft>
              <a:buFont typeface="Arial" panose="020B0604020202020204" pitchFamily="34" charset="0"/>
              <a:buChar char="•"/>
              <a:defRPr sz="1600" kern="1200">
                <a:solidFill>
                  <a:schemeClr val="tx2"/>
                </a:solidFill>
                <a:latin typeface="+mn-lt"/>
                <a:ea typeface="+mn-ea"/>
                <a:cs typeface="+mn-cs"/>
              </a:defRPr>
            </a:lvl2pPr>
            <a:lvl3pPr marL="809625" indent="-266700" algn="l" defTabSz="914400" rtl="0" eaLnBrk="1" latinLnBrk="0" hangingPunct="1">
              <a:lnSpc>
                <a:spcPct val="100000"/>
              </a:lnSpc>
              <a:spcBef>
                <a:spcPts val="500"/>
              </a:spcBef>
              <a:spcAft>
                <a:spcPts val="500"/>
              </a:spcAft>
              <a:buFont typeface="Arial" panose="020B0604020202020204" pitchFamily="34" charset="0"/>
              <a:buChar char="•"/>
              <a:defRPr sz="1600" kern="1200">
                <a:solidFill>
                  <a:schemeClr val="tx2"/>
                </a:solidFill>
                <a:latin typeface="+mn-lt"/>
                <a:ea typeface="+mn-ea"/>
                <a:cs typeface="+mn-cs"/>
              </a:defRPr>
            </a:lvl3pPr>
            <a:lvl4pPr marL="1076325" indent="-266700" algn="l" defTabSz="914400" rtl="0" eaLnBrk="1" latinLnBrk="0" hangingPunct="1">
              <a:lnSpc>
                <a:spcPct val="100000"/>
              </a:lnSpc>
              <a:spcBef>
                <a:spcPts val="500"/>
              </a:spcBef>
              <a:spcAft>
                <a:spcPts val="500"/>
              </a:spcAft>
              <a:buFont typeface="Arial" panose="020B0604020202020204" pitchFamily="34" charset="0"/>
              <a:buChar char="•"/>
              <a:defRPr sz="1400" kern="1200">
                <a:solidFill>
                  <a:schemeClr val="tx2"/>
                </a:solidFill>
                <a:latin typeface="+mn-lt"/>
                <a:ea typeface="+mn-ea"/>
                <a:cs typeface="+mn-cs"/>
              </a:defRPr>
            </a:lvl4pPr>
            <a:lvl5pPr marL="1343025" indent="-266700" algn="l" defTabSz="914400" rtl="0" eaLnBrk="1" latinLnBrk="0" hangingPunct="1">
              <a:lnSpc>
                <a:spcPct val="100000"/>
              </a:lnSpc>
              <a:spcBef>
                <a:spcPts val="500"/>
              </a:spcBef>
              <a:spcAft>
                <a:spcPts val="500"/>
              </a:spcAft>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solidFill>
                  <a:schemeClr val="tx1"/>
                </a:solidFill>
              </a:rPr>
              <a:t>ex: </a:t>
            </a:r>
            <a:r>
              <a:rPr lang="en-US" err="1">
                <a:solidFill>
                  <a:schemeClr val="tx1"/>
                </a:solidFill>
              </a:rPr>
              <a:t>PowerBI</a:t>
            </a:r>
            <a:r>
              <a:rPr lang="en-US">
                <a:solidFill>
                  <a:schemeClr val="tx1"/>
                </a:solidFill>
              </a:rPr>
              <a:t>, SQL, </a:t>
            </a:r>
            <a:r>
              <a:rPr lang="en-US" err="1">
                <a:solidFill>
                  <a:schemeClr val="tx1"/>
                </a:solidFill>
              </a:rPr>
              <a:t>CosmosDB</a:t>
            </a:r>
            <a:endParaRPr lang="en-ZA">
              <a:solidFill>
                <a:schemeClr val="tx1"/>
              </a:solidFill>
            </a:endParaRPr>
          </a:p>
        </p:txBody>
      </p:sp>
      <p:sp>
        <p:nvSpPr>
          <p:cNvPr id="61" name="Rectangle 60" title="Icon Background">
            <a:extLst>
              <a:ext uri="{FF2B5EF4-FFF2-40B4-BE49-F238E27FC236}">
                <a16:creationId xmlns:a16="http://schemas.microsoft.com/office/drawing/2014/main" id="{FDD482D9-76F8-4556-80E2-C1D427B1AACC}"/>
              </a:ext>
            </a:extLst>
          </p:cNvPr>
          <p:cNvSpPr/>
          <p:nvPr/>
        </p:nvSpPr>
        <p:spPr>
          <a:xfrm>
            <a:off x="9806077" y="1748822"/>
            <a:ext cx="1114422" cy="11144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ZA">
              <a:solidFill>
                <a:schemeClr val="tx1"/>
              </a:solidFill>
            </a:endParaRPr>
          </a:p>
        </p:txBody>
      </p:sp>
      <p:sp>
        <p:nvSpPr>
          <p:cNvPr id="63" name="Text Placeholder 7">
            <a:extLst>
              <a:ext uri="{FF2B5EF4-FFF2-40B4-BE49-F238E27FC236}">
                <a16:creationId xmlns:a16="http://schemas.microsoft.com/office/drawing/2014/main" id="{11EA5A3E-9599-4D6F-A3B6-6C8ED15F314D}"/>
              </a:ext>
            </a:extLst>
          </p:cNvPr>
          <p:cNvSpPr>
            <a:spLocks noGrp="1"/>
          </p:cNvSpPr>
          <p:nvPr/>
        </p:nvSpPr>
        <p:spPr>
          <a:xfrm>
            <a:off x="9485712" y="3000444"/>
            <a:ext cx="1800000" cy="360000"/>
          </a:xfrm>
          <a:prstGeom prst="rect">
            <a:avLst/>
          </a:prstGeom>
        </p:spPr>
        <p:txBody>
          <a:bodyPr vert="horz" lIns="0" tIns="0" rIns="0" bIns="0" rtlCol="0">
            <a:noAutofit/>
          </a:bodyPr>
          <a:lstStyle>
            <a:lvl1pPr marL="0" indent="0" algn="ctr" defTabSz="914400" rtl="0" eaLnBrk="1" latinLnBrk="0" hangingPunct="1">
              <a:lnSpc>
                <a:spcPct val="100000"/>
              </a:lnSpc>
              <a:spcBef>
                <a:spcPts val="1000"/>
              </a:spcBef>
              <a:spcAft>
                <a:spcPts val="500"/>
              </a:spcAft>
              <a:buClr>
                <a:schemeClr val="accent1"/>
              </a:buClr>
              <a:buFont typeface="Arial" panose="020B0604020202020204" pitchFamily="34" charset="0"/>
              <a:buNone/>
              <a:defRPr sz="1800" kern="1200">
                <a:solidFill>
                  <a:schemeClr val="tx1">
                    <a:lumMod val="75000"/>
                    <a:lumOff val="25000"/>
                  </a:schemeClr>
                </a:solidFill>
                <a:latin typeface="+mn-lt"/>
                <a:ea typeface="+mn-ea"/>
                <a:cs typeface="+mn-cs"/>
              </a:defRPr>
            </a:lvl1pPr>
            <a:lvl2pPr marL="542925" indent="-276225" algn="l" defTabSz="914400" rtl="0" eaLnBrk="1" latinLnBrk="0" hangingPunct="1">
              <a:lnSpc>
                <a:spcPct val="100000"/>
              </a:lnSpc>
              <a:spcBef>
                <a:spcPts val="500"/>
              </a:spcBef>
              <a:spcAft>
                <a:spcPts val="500"/>
              </a:spcAft>
              <a:buFont typeface="Arial" panose="020B0604020202020204" pitchFamily="34" charset="0"/>
              <a:buChar char="•"/>
              <a:defRPr sz="1600" kern="1200">
                <a:solidFill>
                  <a:schemeClr val="tx2"/>
                </a:solidFill>
                <a:latin typeface="+mn-lt"/>
                <a:ea typeface="+mn-ea"/>
                <a:cs typeface="+mn-cs"/>
              </a:defRPr>
            </a:lvl2pPr>
            <a:lvl3pPr marL="809625" indent="-266700" algn="l" defTabSz="914400" rtl="0" eaLnBrk="1" latinLnBrk="0" hangingPunct="1">
              <a:lnSpc>
                <a:spcPct val="100000"/>
              </a:lnSpc>
              <a:spcBef>
                <a:spcPts val="500"/>
              </a:spcBef>
              <a:spcAft>
                <a:spcPts val="500"/>
              </a:spcAft>
              <a:buFont typeface="Arial" panose="020B0604020202020204" pitchFamily="34" charset="0"/>
              <a:buChar char="•"/>
              <a:defRPr sz="1600" kern="1200">
                <a:solidFill>
                  <a:schemeClr val="tx2"/>
                </a:solidFill>
                <a:latin typeface="+mn-lt"/>
                <a:ea typeface="+mn-ea"/>
                <a:cs typeface="+mn-cs"/>
              </a:defRPr>
            </a:lvl3pPr>
            <a:lvl4pPr marL="1076325" indent="-266700" algn="l" defTabSz="914400" rtl="0" eaLnBrk="1" latinLnBrk="0" hangingPunct="1">
              <a:lnSpc>
                <a:spcPct val="100000"/>
              </a:lnSpc>
              <a:spcBef>
                <a:spcPts val="500"/>
              </a:spcBef>
              <a:spcAft>
                <a:spcPts val="500"/>
              </a:spcAft>
              <a:buFont typeface="Arial" panose="020B0604020202020204" pitchFamily="34" charset="0"/>
              <a:buChar char="•"/>
              <a:defRPr sz="1400" kern="1200">
                <a:solidFill>
                  <a:schemeClr val="tx2"/>
                </a:solidFill>
                <a:latin typeface="+mn-lt"/>
                <a:ea typeface="+mn-ea"/>
                <a:cs typeface="+mn-cs"/>
              </a:defRPr>
            </a:lvl4pPr>
            <a:lvl5pPr marL="1343025" indent="-266700" algn="l" defTabSz="914400" rtl="0" eaLnBrk="1" latinLnBrk="0" hangingPunct="1">
              <a:lnSpc>
                <a:spcPct val="100000"/>
              </a:lnSpc>
              <a:spcBef>
                <a:spcPts val="500"/>
              </a:spcBef>
              <a:spcAft>
                <a:spcPts val="500"/>
              </a:spcAft>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solidFill>
                  <a:schemeClr val="tx1"/>
                </a:solidFill>
              </a:rPr>
              <a:t>Meta-learning</a:t>
            </a:r>
            <a:endParaRPr lang="en-US">
              <a:solidFill>
                <a:schemeClr val="tx1"/>
              </a:solidFill>
              <a:cs typeface="Calibri"/>
            </a:endParaRPr>
          </a:p>
        </p:txBody>
      </p:sp>
      <p:cxnSp>
        <p:nvCxnSpPr>
          <p:cNvPr id="64" name="Straight Connector 63" title="Divider Line">
            <a:extLst>
              <a:ext uri="{FF2B5EF4-FFF2-40B4-BE49-F238E27FC236}">
                <a16:creationId xmlns:a16="http://schemas.microsoft.com/office/drawing/2014/main" id="{FB9A8AD6-90CF-4A5B-A1EA-96A1C59BAC40}"/>
              </a:ext>
            </a:extLst>
          </p:cNvPr>
          <p:cNvCxnSpPr>
            <a:cxnSpLocks/>
          </p:cNvCxnSpPr>
          <p:nvPr/>
        </p:nvCxnSpPr>
        <p:spPr>
          <a:xfrm>
            <a:off x="9611712" y="3497644"/>
            <a:ext cx="1548000" cy="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8" name="Graphic 67" descr="Cloud Computing">
            <a:extLst>
              <a:ext uri="{FF2B5EF4-FFF2-40B4-BE49-F238E27FC236}">
                <a16:creationId xmlns:a16="http://schemas.microsoft.com/office/drawing/2014/main" id="{1A4D648E-9C4B-40FC-8E33-092D885BF1A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8648" y="1818650"/>
            <a:ext cx="914400" cy="914400"/>
          </a:xfrm>
          <a:prstGeom prst="rect">
            <a:avLst/>
          </a:prstGeom>
        </p:spPr>
      </p:pic>
      <p:pic>
        <p:nvPicPr>
          <p:cNvPr id="70" name="Graphic 69" descr="Head with Gears">
            <a:extLst>
              <a:ext uri="{FF2B5EF4-FFF2-40B4-BE49-F238E27FC236}">
                <a16:creationId xmlns:a16="http://schemas.microsoft.com/office/drawing/2014/main" id="{6C7DB170-605F-4E7A-BE2C-F0AA99E1EC1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942874" y="1848833"/>
            <a:ext cx="914400" cy="914400"/>
          </a:xfrm>
          <a:prstGeom prst="rect">
            <a:avLst/>
          </a:prstGeom>
        </p:spPr>
      </p:pic>
      <p:pic>
        <p:nvPicPr>
          <p:cNvPr id="72" name="Graphic 71" descr="Pie chart">
            <a:extLst>
              <a:ext uri="{FF2B5EF4-FFF2-40B4-BE49-F238E27FC236}">
                <a16:creationId xmlns:a16="http://schemas.microsoft.com/office/drawing/2014/main" id="{FF9ACA7F-CEC6-445B-96AC-C50DC84C374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008938" y="1818650"/>
            <a:ext cx="914400" cy="914400"/>
          </a:xfrm>
          <a:prstGeom prst="rect">
            <a:avLst/>
          </a:prstGeom>
        </p:spPr>
      </p:pic>
      <p:pic>
        <p:nvPicPr>
          <p:cNvPr id="76" name="Graphic 75" descr="Open Folder">
            <a:extLst>
              <a:ext uri="{FF2B5EF4-FFF2-40B4-BE49-F238E27FC236}">
                <a16:creationId xmlns:a16="http://schemas.microsoft.com/office/drawing/2014/main" id="{77195FC3-6C4E-4057-B359-F0A9057FB36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003234" y="1818650"/>
            <a:ext cx="914400" cy="914400"/>
          </a:xfrm>
          <a:prstGeom prst="rect">
            <a:avLst/>
          </a:prstGeom>
        </p:spPr>
      </p:pic>
      <p:sp>
        <p:nvSpPr>
          <p:cNvPr id="80" name="Text Placeholder 9">
            <a:extLst>
              <a:ext uri="{FF2B5EF4-FFF2-40B4-BE49-F238E27FC236}">
                <a16:creationId xmlns:a16="http://schemas.microsoft.com/office/drawing/2014/main" id="{BD983F9D-712F-426C-8337-85C86CFD92D1}"/>
              </a:ext>
            </a:extLst>
          </p:cNvPr>
          <p:cNvSpPr txBox="1">
            <a:spLocks/>
          </p:cNvSpPr>
          <p:nvPr/>
        </p:nvSpPr>
        <p:spPr>
          <a:xfrm>
            <a:off x="876035" y="5094353"/>
            <a:ext cx="4583783" cy="1625420"/>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endParaRPr lang="en-US" sz="2000"/>
          </a:p>
        </p:txBody>
      </p:sp>
      <p:sp>
        <p:nvSpPr>
          <p:cNvPr id="35" name="Text Placeholder 10">
            <a:extLst>
              <a:ext uri="{FF2B5EF4-FFF2-40B4-BE49-F238E27FC236}">
                <a16:creationId xmlns:a16="http://schemas.microsoft.com/office/drawing/2014/main" id="{1890448B-A96C-45D2-9793-830161AC51BF}"/>
              </a:ext>
            </a:extLst>
          </p:cNvPr>
          <p:cNvSpPr>
            <a:spLocks noGrp="1"/>
          </p:cNvSpPr>
          <p:nvPr/>
        </p:nvSpPr>
        <p:spPr>
          <a:xfrm>
            <a:off x="9457252" y="3634389"/>
            <a:ext cx="1800000" cy="720000"/>
          </a:xfrm>
          <a:prstGeom prst="rect">
            <a:avLst/>
          </a:prstGeom>
        </p:spPr>
        <p:txBody>
          <a:bodyPr vert="horz" lIns="0" tIns="0" rIns="0" bIns="0" rtlCol="0">
            <a:noAutofit/>
          </a:bodyPr>
          <a:lstStyle>
            <a:lvl1pPr marL="0" indent="0" algn="ctr" defTabSz="914400" rtl="0" eaLnBrk="1" latinLnBrk="0" hangingPunct="1">
              <a:lnSpc>
                <a:spcPct val="100000"/>
              </a:lnSpc>
              <a:spcBef>
                <a:spcPts val="1000"/>
              </a:spcBef>
              <a:spcAft>
                <a:spcPts val="500"/>
              </a:spcAft>
              <a:buClr>
                <a:schemeClr val="accent1"/>
              </a:buClr>
              <a:buFont typeface="Arial" panose="020B0604020202020204" pitchFamily="34" charset="0"/>
              <a:buNone/>
              <a:defRPr sz="1400" kern="1200">
                <a:solidFill>
                  <a:schemeClr val="tx1">
                    <a:lumMod val="75000"/>
                    <a:lumOff val="25000"/>
                  </a:schemeClr>
                </a:solidFill>
                <a:latin typeface="+mn-lt"/>
                <a:ea typeface="+mn-ea"/>
                <a:cs typeface="+mn-cs"/>
              </a:defRPr>
            </a:lvl1pPr>
            <a:lvl2pPr marL="542925" indent="-276225" algn="l" defTabSz="914400" rtl="0" eaLnBrk="1" latinLnBrk="0" hangingPunct="1">
              <a:lnSpc>
                <a:spcPct val="100000"/>
              </a:lnSpc>
              <a:spcBef>
                <a:spcPts val="500"/>
              </a:spcBef>
              <a:spcAft>
                <a:spcPts val="500"/>
              </a:spcAft>
              <a:buFont typeface="Arial" panose="020B0604020202020204" pitchFamily="34" charset="0"/>
              <a:buChar char="•"/>
              <a:defRPr sz="1600" kern="1200">
                <a:solidFill>
                  <a:schemeClr val="tx2"/>
                </a:solidFill>
                <a:latin typeface="+mn-lt"/>
                <a:ea typeface="+mn-ea"/>
                <a:cs typeface="+mn-cs"/>
              </a:defRPr>
            </a:lvl2pPr>
            <a:lvl3pPr marL="809625" indent="-266700" algn="l" defTabSz="914400" rtl="0" eaLnBrk="1" latinLnBrk="0" hangingPunct="1">
              <a:lnSpc>
                <a:spcPct val="100000"/>
              </a:lnSpc>
              <a:spcBef>
                <a:spcPts val="500"/>
              </a:spcBef>
              <a:spcAft>
                <a:spcPts val="500"/>
              </a:spcAft>
              <a:buFont typeface="Arial" panose="020B0604020202020204" pitchFamily="34" charset="0"/>
              <a:buChar char="•"/>
              <a:defRPr sz="1600" kern="1200">
                <a:solidFill>
                  <a:schemeClr val="tx2"/>
                </a:solidFill>
                <a:latin typeface="+mn-lt"/>
                <a:ea typeface="+mn-ea"/>
                <a:cs typeface="+mn-cs"/>
              </a:defRPr>
            </a:lvl3pPr>
            <a:lvl4pPr marL="1076325" indent="-266700" algn="l" defTabSz="914400" rtl="0" eaLnBrk="1" latinLnBrk="0" hangingPunct="1">
              <a:lnSpc>
                <a:spcPct val="100000"/>
              </a:lnSpc>
              <a:spcBef>
                <a:spcPts val="500"/>
              </a:spcBef>
              <a:spcAft>
                <a:spcPts val="500"/>
              </a:spcAft>
              <a:buFont typeface="Arial" panose="020B0604020202020204" pitchFamily="34" charset="0"/>
              <a:buChar char="•"/>
              <a:defRPr sz="1400" kern="1200">
                <a:solidFill>
                  <a:schemeClr val="tx2"/>
                </a:solidFill>
                <a:latin typeface="+mn-lt"/>
                <a:ea typeface="+mn-ea"/>
                <a:cs typeface="+mn-cs"/>
              </a:defRPr>
            </a:lvl4pPr>
            <a:lvl5pPr marL="1343025" indent="-266700" algn="l" defTabSz="914400" rtl="0" eaLnBrk="1" latinLnBrk="0" hangingPunct="1">
              <a:lnSpc>
                <a:spcPct val="100000"/>
              </a:lnSpc>
              <a:spcBef>
                <a:spcPts val="500"/>
              </a:spcBef>
              <a:spcAft>
                <a:spcPts val="500"/>
              </a:spcAft>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solidFill>
                  <a:schemeClr val="tx1"/>
                </a:solidFill>
              </a:rPr>
              <a:t>gets better with customer usage</a:t>
            </a:r>
            <a:endParaRPr lang="en-US">
              <a:solidFill>
                <a:schemeClr val="tx1"/>
              </a:solidFill>
              <a:cs typeface="Calibri"/>
            </a:endParaRPr>
          </a:p>
        </p:txBody>
      </p:sp>
    </p:spTree>
    <p:extLst>
      <p:ext uri="{BB962C8B-B14F-4D97-AF65-F5344CB8AC3E}">
        <p14:creationId xmlns:p14="http://schemas.microsoft.com/office/powerpoint/2010/main" val="283592555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79B3A2-E18C-433D-ACFB-88639790DA22}"/>
              </a:ext>
            </a:extLst>
          </p:cNvPr>
          <p:cNvSpPr>
            <a:spLocks noGrp="1"/>
          </p:cNvSpPr>
          <p:nvPr>
            <p:ph type="title"/>
          </p:nvPr>
        </p:nvSpPr>
        <p:spPr>
          <a:xfrm>
            <a:off x="609600" y="0"/>
            <a:ext cx="10515600" cy="1325563"/>
          </a:xfrm>
        </p:spPr>
        <p:txBody>
          <a:bodyPr vert="horz" lIns="91440" tIns="45720" rIns="91440" bIns="45720" rtlCol="0" anchor="ctr">
            <a:normAutofit/>
          </a:bodyPr>
          <a:lstStyle/>
          <a:p>
            <a:pPr lvl="0">
              <a:lnSpc>
                <a:spcPct val="100000"/>
              </a:lnSpc>
              <a:spcBef>
                <a:spcPts val="0"/>
              </a:spcBef>
            </a:pPr>
            <a:r>
              <a:rPr lang="en-US" sz="4900">
                <a:solidFill>
                  <a:prstClr val="black"/>
                </a:solidFill>
                <a:latin typeface="Segoe UI Light" panose="020B0502040204020203" pitchFamily="34" charset="0"/>
                <a:ea typeface="+mn-ea"/>
                <a:cs typeface="Segoe UI Light" panose="020B0502040204020203" pitchFamily="34" charset="0"/>
              </a:rPr>
              <a:t>Automated ML Customer Testimonials </a:t>
            </a:r>
          </a:p>
        </p:txBody>
      </p:sp>
      <p:sp>
        <p:nvSpPr>
          <p:cNvPr id="4" name="Text Placeholder 3">
            <a:extLst>
              <a:ext uri="{FF2B5EF4-FFF2-40B4-BE49-F238E27FC236}">
                <a16:creationId xmlns:a16="http://schemas.microsoft.com/office/drawing/2014/main" id="{6364D22D-A0C3-4545-AFE1-FBD20C6FFBBC}"/>
              </a:ext>
            </a:extLst>
          </p:cNvPr>
          <p:cNvSpPr>
            <a:spLocks noGrp="1"/>
          </p:cNvSpPr>
          <p:nvPr>
            <p:ph type="body" sz="half" idx="2"/>
          </p:nvPr>
        </p:nvSpPr>
        <p:spPr>
          <a:xfrm>
            <a:off x="492641" y="1690686"/>
            <a:ext cx="3196856" cy="4086139"/>
          </a:xfrm>
        </p:spPr>
        <p:txBody>
          <a:bodyPr vert="horz" lIns="91440" tIns="45720" rIns="91440" bIns="45720" rtlCol="0">
            <a:noAutofit/>
          </a:bodyPr>
          <a:lstStyle/>
          <a:p>
            <a:pPr marL="285750" indent="-285750">
              <a:buFont typeface="Arial" panose="020B0604020202020204" pitchFamily="34" charset="0"/>
              <a:buChar char="•"/>
            </a:pPr>
            <a:r>
              <a:rPr lang="en-US" sz="2400">
                <a:latin typeface="Segoe UI Light" panose="020B0502040204020203" pitchFamily="34" charset="0"/>
                <a:cs typeface="Segoe UI Light" panose="020B0502040204020203" pitchFamily="34" charset="0"/>
              </a:rPr>
              <a:t>Press-coverage from public preview:</a:t>
            </a:r>
          </a:p>
          <a:p>
            <a:endParaRPr lang="en-US" sz="2400">
              <a:latin typeface="Segoe UI Light" panose="020B0502040204020203" pitchFamily="34" charset="0"/>
              <a:cs typeface="Segoe UI Light" panose="020B0502040204020203" pitchFamily="34" charset="0"/>
            </a:endParaRPr>
          </a:p>
          <a:p>
            <a:pPr marL="742950" lvl="1" indent="-285750">
              <a:buFont typeface="Arial" panose="020B0604020202020204" pitchFamily="34" charset="0"/>
              <a:buChar char="•"/>
            </a:pPr>
            <a:r>
              <a:rPr lang="en-US" sz="2400">
                <a:latin typeface="Segoe UI Light" panose="020B0502040204020203" pitchFamily="34" charset="0"/>
                <a:cs typeface="Segoe UI Light" panose="020B0502040204020203" pitchFamily="34" charset="0"/>
                <a:hlinkClick r:id="rId2"/>
              </a:rPr>
              <a:t>CNET</a:t>
            </a:r>
            <a:endParaRPr lang="en-US" sz="2400">
              <a:latin typeface="Segoe UI Light" panose="020B0502040204020203" pitchFamily="34" charset="0"/>
              <a:cs typeface="Segoe UI Light" panose="020B0502040204020203" pitchFamily="34" charset="0"/>
              <a:hlinkClick r:id="" action="ppaction://noaction"/>
            </a:endParaRPr>
          </a:p>
          <a:p>
            <a:pPr marL="742950" lvl="1" indent="-285750">
              <a:buFont typeface="Arial" panose="020B0604020202020204" pitchFamily="34" charset="0"/>
              <a:buChar char="•"/>
            </a:pPr>
            <a:endParaRPr lang="en-US" sz="2400">
              <a:latin typeface="Segoe UI Light" panose="020B0502040204020203" pitchFamily="34" charset="0"/>
              <a:cs typeface="Segoe UI Light" panose="020B0502040204020203" pitchFamily="34" charset="0"/>
              <a:hlinkClick r:id="" action="ppaction://noaction"/>
            </a:endParaRPr>
          </a:p>
          <a:p>
            <a:pPr marL="742950" lvl="1" indent="-285750">
              <a:buFont typeface="Arial" panose="020B0604020202020204" pitchFamily="34" charset="0"/>
              <a:buChar char="•"/>
            </a:pPr>
            <a:r>
              <a:rPr lang="en-US" sz="2400">
                <a:latin typeface="Segoe UI Light" panose="020B0502040204020203" pitchFamily="34" charset="0"/>
                <a:cs typeface="Segoe UI Light" panose="020B0502040204020203" pitchFamily="34" charset="0"/>
                <a:hlinkClick r:id="" action="ppaction://noaction"/>
              </a:rPr>
              <a:t>VentureBeat</a:t>
            </a:r>
            <a:endParaRPr lang="en-US" sz="2400">
              <a:latin typeface="Segoe UI Light" panose="020B0502040204020203" pitchFamily="34" charset="0"/>
              <a:cs typeface="Segoe UI Light" panose="020B0502040204020203" pitchFamily="34" charset="0"/>
            </a:endParaRPr>
          </a:p>
          <a:p>
            <a:pPr marL="742950" lvl="1" indent="-285750">
              <a:buFont typeface="Arial" panose="020B0604020202020204" pitchFamily="34" charset="0"/>
              <a:buChar char="•"/>
            </a:pPr>
            <a:endParaRPr lang="en-US" sz="2400">
              <a:latin typeface="Segoe UI Light" panose="020B0502040204020203" pitchFamily="34" charset="0"/>
              <a:cs typeface="Segoe UI Light" panose="020B0502040204020203" pitchFamily="34" charset="0"/>
              <a:hlinkClick r:id="" action="ppaction://noaction"/>
            </a:endParaRPr>
          </a:p>
          <a:p>
            <a:pPr marL="742950" lvl="1" indent="-285750">
              <a:buFont typeface="Arial" panose="020B0604020202020204" pitchFamily="34" charset="0"/>
              <a:buChar char="•"/>
            </a:pPr>
            <a:r>
              <a:rPr lang="en-US" sz="2400">
                <a:latin typeface="Segoe UI Light" panose="020B0502040204020203" pitchFamily="34" charset="0"/>
                <a:cs typeface="Segoe UI Light" panose="020B0502040204020203" pitchFamily="34" charset="0"/>
                <a:hlinkClick r:id="" action="ppaction://noaction"/>
              </a:rPr>
              <a:t>PRNewswire</a:t>
            </a:r>
            <a:endParaRPr lang="en-US" sz="2400">
              <a:latin typeface="Segoe UI Light" panose="020B0502040204020203" pitchFamily="34" charset="0"/>
              <a:cs typeface="Segoe UI Light" panose="020B0502040204020203" pitchFamily="34" charset="0"/>
            </a:endParaRPr>
          </a:p>
        </p:txBody>
      </p:sp>
      <p:graphicFrame>
        <p:nvGraphicFramePr>
          <p:cNvPr id="6" name="Diagram 5">
            <a:extLst>
              <a:ext uri="{FF2B5EF4-FFF2-40B4-BE49-F238E27FC236}">
                <a16:creationId xmlns:a16="http://schemas.microsoft.com/office/drawing/2014/main" id="{8AB18E2F-F62E-40FE-B3E3-B349DDBCB67C}"/>
              </a:ext>
            </a:extLst>
          </p:cNvPr>
          <p:cNvGraphicFramePr/>
          <p:nvPr>
            <p:extLst/>
          </p:nvPr>
        </p:nvGraphicFramePr>
        <p:xfrm>
          <a:off x="3689497" y="1185585"/>
          <a:ext cx="8128000" cy="509634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08801554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79B3A2-E18C-433D-ACFB-88639790DA22}"/>
              </a:ext>
            </a:extLst>
          </p:cNvPr>
          <p:cNvSpPr>
            <a:spLocks noGrp="1"/>
          </p:cNvSpPr>
          <p:nvPr>
            <p:ph type="title"/>
          </p:nvPr>
        </p:nvSpPr>
        <p:spPr>
          <a:xfrm>
            <a:off x="838200" y="365125"/>
            <a:ext cx="10515600" cy="1325563"/>
          </a:xfrm>
        </p:spPr>
        <p:txBody>
          <a:bodyPr vert="horz" lIns="91440" tIns="45720" rIns="91440" bIns="45720" rtlCol="0" anchor="ctr">
            <a:normAutofit fontScale="90000"/>
          </a:bodyPr>
          <a:lstStyle/>
          <a:p>
            <a:pPr lvl="0">
              <a:lnSpc>
                <a:spcPct val="100000"/>
              </a:lnSpc>
              <a:spcBef>
                <a:spcPts val="0"/>
              </a:spcBef>
            </a:pPr>
            <a:r>
              <a:rPr lang="en-US" sz="4900">
                <a:solidFill>
                  <a:prstClr val="black"/>
                </a:solidFill>
                <a:latin typeface="Segoe UI Light" panose="020B0502040204020203" pitchFamily="34" charset="0"/>
                <a:ea typeface="+mn-ea"/>
                <a:cs typeface="Segoe UI Light" panose="020B0502040204020203" pitchFamily="34" charset="0"/>
              </a:rPr>
              <a:t>Automated ML Capabilities</a:t>
            </a:r>
            <a:br>
              <a:rPr lang="en-US" sz="4400">
                <a:solidFill>
                  <a:prstClr val="black"/>
                </a:solidFill>
                <a:latin typeface="Segoe UI Light" panose="020B0502040204020203" pitchFamily="34" charset="0"/>
                <a:ea typeface="+mn-ea"/>
                <a:cs typeface="Segoe UI Light" panose="020B0502040204020203" pitchFamily="34" charset="0"/>
              </a:rPr>
            </a:br>
            <a:endParaRPr lang="en-US" sz="4400"/>
          </a:p>
        </p:txBody>
      </p:sp>
      <p:sp>
        <p:nvSpPr>
          <p:cNvPr id="4" name="Text Placeholder 3">
            <a:extLst>
              <a:ext uri="{FF2B5EF4-FFF2-40B4-BE49-F238E27FC236}">
                <a16:creationId xmlns:a16="http://schemas.microsoft.com/office/drawing/2014/main" id="{6364D22D-A0C3-4545-AFE1-FBD20C6FFBBC}"/>
              </a:ext>
            </a:extLst>
          </p:cNvPr>
          <p:cNvSpPr>
            <a:spLocks noGrp="1"/>
          </p:cNvSpPr>
          <p:nvPr>
            <p:ph type="body" sz="half" idx="2"/>
          </p:nvPr>
        </p:nvSpPr>
        <p:spPr>
          <a:xfrm>
            <a:off x="751572" y="1446335"/>
            <a:ext cx="4004388" cy="5109915"/>
          </a:xfrm>
        </p:spPr>
        <p:txBody>
          <a:bodyPr vert="horz" lIns="91440" tIns="45720" rIns="91440" bIns="45720" rtlCol="0">
            <a:normAutofit fontScale="92500" lnSpcReduction="10000"/>
          </a:bodyPr>
          <a:lstStyle/>
          <a:p>
            <a:pPr marL="342900" indent="-342900">
              <a:buFont typeface="Arial" panose="020B0604020202020204" pitchFamily="34" charset="0"/>
              <a:buChar char="•"/>
            </a:pPr>
            <a:r>
              <a:rPr lang="en-US" sz="2000">
                <a:latin typeface="Segoe UI Light" panose="020B0502040204020203" pitchFamily="34" charset="0"/>
                <a:cs typeface="Segoe UI Light" panose="020B0502040204020203" pitchFamily="34" charset="0"/>
              </a:rPr>
              <a:t>ML Scenarios: Classification &amp; Regression, Forecasting*</a:t>
            </a:r>
          </a:p>
          <a:p>
            <a:pPr marL="342900" indent="-342900">
              <a:buFont typeface="Arial" panose="020B0604020202020204" pitchFamily="34" charset="0"/>
              <a:buChar char="•"/>
            </a:pPr>
            <a:r>
              <a:rPr lang="en-US" sz="2000">
                <a:latin typeface="Segoe UI Light" panose="020B0502040204020203" pitchFamily="34" charset="0"/>
                <a:cs typeface="Segoe UI Light" panose="020B0502040204020203" pitchFamily="34" charset="0"/>
              </a:rPr>
              <a:t>Integration: Azure Machine Learning, Azure Notebooks, </a:t>
            </a:r>
            <a:r>
              <a:rPr lang="en-US" sz="2000" err="1">
                <a:latin typeface="Segoe UI Light" panose="020B0502040204020203" pitchFamily="34" charset="0"/>
                <a:cs typeface="Segoe UI Light" panose="020B0502040204020203" pitchFamily="34" charset="0"/>
              </a:rPr>
              <a:t>Jupyter</a:t>
            </a:r>
            <a:r>
              <a:rPr lang="en-US" sz="2000">
                <a:latin typeface="Segoe UI Light" panose="020B0502040204020203" pitchFamily="34" charset="0"/>
                <a:cs typeface="Segoe UI Light" panose="020B0502040204020203" pitchFamily="34" charset="0"/>
              </a:rPr>
              <a:t> Notebooks</a:t>
            </a:r>
          </a:p>
          <a:p>
            <a:pPr marL="342900" indent="-342900">
              <a:buFont typeface="Arial" panose="020B0604020202020204" pitchFamily="34" charset="0"/>
              <a:buChar char="•"/>
            </a:pPr>
            <a:r>
              <a:rPr lang="en-US" sz="2000">
                <a:latin typeface="Segoe UI Light" panose="020B0502040204020203" pitchFamily="34" charset="0"/>
                <a:cs typeface="Segoe UI Light" panose="020B0502040204020203" pitchFamily="34" charset="0"/>
              </a:rPr>
              <a:t>Data Type: Numeric, Text</a:t>
            </a:r>
          </a:p>
          <a:p>
            <a:pPr marL="342900" indent="-342900">
              <a:buFont typeface="Arial" panose="020B0604020202020204" pitchFamily="34" charset="0"/>
              <a:buChar char="•"/>
            </a:pPr>
            <a:r>
              <a:rPr lang="en-US" sz="2000">
                <a:latin typeface="Segoe UI Light" panose="020B0502040204020203" pitchFamily="34" charset="0"/>
                <a:cs typeface="Segoe UI Light" panose="020B0502040204020203" pitchFamily="34" charset="0"/>
              </a:rPr>
              <a:t>Languages: Python SDK for deployment and hosting for inference </a:t>
            </a:r>
          </a:p>
          <a:p>
            <a:pPr marL="342900" indent="-342900">
              <a:buFont typeface="Arial" panose="020B0604020202020204" pitchFamily="34" charset="0"/>
              <a:buChar char="•"/>
            </a:pPr>
            <a:r>
              <a:rPr lang="en-US" sz="2000">
                <a:latin typeface="Segoe UI Light" panose="020B0502040204020203" pitchFamily="34" charset="0"/>
                <a:cs typeface="Segoe UI Light" panose="020B0502040204020203" pitchFamily="34" charset="0"/>
              </a:rPr>
              <a:t>Training Compute: Local Machine, Data Science Virtual Machine (DSVM), Azure Databricks*</a:t>
            </a:r>
          </a:p>
          <a:p>
            <a:pPr marL="342900" indent="-342900">
              <a:buFont typeface="Arial" panose="020B0604020202020204" pitchFamily="34" charset="0"/>
              <a:buChar char="•"/>
            </a:pPr>
            <a:r>
              <a:rPr lang="en-US" sz="2000">
                <a:latin typeface="Segoe UI Light" panose="020B0502040204020203" pitchFamily="34" charset="0"/>
                <a:cs typeface="Segoe UI Light" panose="020B0502040204020203" pitchFamily="34" charset="0"/>
              </a:rPr>
              <a:t>Transparency: View run history, model metrics</a:t>
            </a:r>
          </a:p>
          <a:p>
            <a:pPr marL="342900" indent="-342900">
              <a:buFont typeface="Arial" panose="020B0604020202020204" pitchFamily="34" charset="0"/>
              <a:buChar char="•"/>
            </a:pPr>
            <a:r>
              <a:rPr lang="en-US" sz="2000">
                <a:latin typeface="Segoe UI Light" panose="020B0502040204020203" pitchFamily="34" charset="0"/>
                <a:cs typeface="Segoe UI Light" panose="020B0502040204020203" pitchFamily="34" charset="0"/>
              </a:rPr>
              <a:t>Scale: Faster model training using multiple cores and parallel experiments</a:t>
            </a:r>
          </a:p>
        </p:txBody>
      </p:sp>
      <p:pic>
        <p:nvPicPr>
          <p:cNvPr id="6" name="Picture 5" descr="A picture containing screenshot&#10;&#10;Description generated with very high confidence">
            <a:extLst>
              <a:ext uri="{FF2B5EF4-FFF2-40B4-BE49-F238E27FC236}">
                <a16:creationId xmlns:a16="http://schemas.microsoft.com/office/drawing/2014/main" id="{05CDA4D0-60DF-42B9-ADBB-905718665449}"/>
              </a:ext>
            </a:extLst>
          </p:cNvPr>
          <p:cNvPicPr>
            <a:picLocks noChangeAspect="1"/>
          </p:cNvPicPr>
          <p:nvPr/>
        </p:nvPicPr>
        <p:blipFill>
          <a:blip r:embed="rId2">
            <a:extLst>
              <a:ext uri="{BEBA8EAE-BF5A-486C-A8C5-ECC9F3942E4B}">
                <a14:imgProps xmlns:a14="http://schemas.microsoft.com/office/drawing/2010/main">
                  <a14:imgLayer r:embed="rId3">
                    <a14:imgEffect>
                      <a14:colorTemperature colorTemp="5300"/>
                    </a14:imgEffect>
                    <a14:imgEffect>
                      <a14:saturation sat="200000"/>
                    </a14:imgEffect>
                  </a14:imgLayer>
                </a14:imgProps>
              </a:ext>
            </a:extLst>
          </a:blip>
          <a:stretch>
            <a:fillRect/>
          </a:stretch>
        </p:blipFill>
        <p:spPr>
          <a:xfrm>
            <a:off x="5024451" y="1690688"/>
            <a:ext cx="6329349" cy="3798217"/>
          </a:xfrm>
          <a:prstGeom prst="rect">
            <a:avLst/>
          </a:prstGeom>
        </p:spPr>
      </p:pic>
      <p:sp>
        <p:nvSpPr>
          <p:cNvPr id="3" name="Rectangle 2">
            <a:extLst>
              <a:ext uri="{FF2B5EF4-FFF2-40B4-BE49-F238E27FC236}">
                <a16:creationId xmlns:a16="http://schemas.microsoft.com/office/drawing/2014/main" id="{7AC6A310-AE6B-41FB-B5F4-F066AF8BDA04}"/>
              </a:ext>
            </a:extLst>
          </p:cNvPr>
          <p:cNvSpPr/>
          <p:nvPr/>
        </p:nvSpPr>
        <p:spPr>
          <a:xfrm>
            <a:off x="11188003" y="6492875"/>
            <a:ext cx="880369" cy="2616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 In Preview</a:t>
            </a:r>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9320701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364D22D-A0C3-4545-AFE1-FBD20C6FFBBC}"/>
              </a:ext>
            </a:extLst>
          </p:cNvPr>
          <p:cNvSpPr>
            <a:spLocks noGrp="1"/>
          </p:cNvSpPr>
          <p:nvPr>
            <p:ph type="body" sz="half" idx="2"/>
          </p:nvPr>
        </p:nvSpPr>
        <p:spPr>
          <a:xfrm>
            <a:off x="947737" y="2932084"/>
            <a:ext cx="10296525" cy="3560791"/>
          </a:xfrm>
        </p:spPr>
        <p:txBody>
          <a:bodyPr vert="horz" lIns="91440" tIns="45720" rIns="91440" bIns="45720" rtlCol="0">
            <a:normAutofit fontScale="77500" lnSpcReduction="20000"/>
          </a:bodyPr>
          <a:lstStyle/>
          <a:p>
            <a:r>
              <a:rPr lang="en-US" sz="2200" b="1" dirty="0">
                <a:latin typeface="Segoe UI Light" panose="020B0502040204020203" pitchFamily="34" charset="0"/>
                <a:cs typeface="Segoe UI Light" panose="020B0502040204020203" pitchFamily="34" charset="0"/>
              </a:rPr>
              <a:t>Dropping high cardinality or no variance features</a:t>
            </a:r>
          </a:p>
          <a:p>
            <a:pPr marL="342900" indent="-342900">
              <a:buFont typeface="Arial" panose="020B0604020202020204" pitchFamily="34" charset="0"/>
              <a:buChar char="•"/>
            </a:pPr>
            <a:r>
              <a:rPr lang="en-US" sz="2200" dirty="0">
                <a:latin typeface="Segoe UI Light" panose="020B0502040204020203" pitchFamily="34" charset="0"/>
                <a:cs typeface="Segoe UI Light" panose="020B0502040204020203" pitchFamily="34" charset="0"/>
              </a:rPr>
              <a:t>Features with no useful information are dropped from training and validation sets. These include features with all values missing, same value across all rows or with extremely high cardinality (e.g., hashes, IDs or GUIDs).</a:t>
            </a:r>
          </a:p>
          <a:p>
            <a:r>
              <a:rPr lang="en-US" sz="2200" b="1" dirty="0">
                <a:latin typeface="Segoe UI Light" panose="020B0502040204020203" pitchFamily="34" charset="0"/>
                <a:cs typeface="Segoe UI Light" panose="020B0502040204020203" pitchFamily="34" charset="0"/>
              </a:rPr>
              <a:t>Missing value imputation</a:t>
            </a:r>
          </a:p>
          <a:p>
            <a:pPr marL="342900" indent="-342900">
              <a:buFont typeface="Arial" panose="020B0604020202020204" pitchFamily="34" charset="0"/>
              <a:buChar char="•"/>
            </a:pPr>
            <a:r>
              <a:rPr lang="en-US" sz="2200" dirty="0">
                <a:latin typeface="Segoe UI Light" panose="020B0502040204020203" pitchFamily="34" charset="0"/>
                <a:cs typeface="Segoe UI Light" panose="020B0502040204020203" pitchFamily="34" charset="0"/>
              </a:rPr>
              <a:t>For categorical features, missing values are imputed with most frequent value. For numerical features, missing values are imputed with average of values in the column</a:t>
            </a:r>
          </a:p>
          <a:p>
            <a:r>
              <a:rPr lang="en-US" sz="2200" b="1" dirty="0">
                <a:latin typeface="Segoe UI Light" panose="020B0502040204020203" pitchFamily="34" charset="0"/>
                <a:cs typeface="Segoe UI Light" panose="020B0502040204020203" pitchFamily="34" charset="0"/>
              </a:rPr>
              <a:t>Generating additional features</a:t>
            </a:r>
          </a:p>
          <a:p>
            <a:pPr marL="342900" indent="-342900">
              <a:buFont typeface="Arial" panose="020B0604020202020204" pitchFamily="34" charset="0"/>
              <a:buChar char="•"/>
            </a:pPr>
            <a:r>
              <a:rPr lang="en-US" sz="2200" dirty="0">
                <a:latin typeface="Segoe UI Light" panose="020B0502040204020203" pitchFamily="34" charset="0"/>
                <a:cs typeface="Segoe UI Light" panose="020B0502040204020203" pitchFamily="34" charset="0"/>
              </a:rPr>
              <a:t>For </a:t>
            </a:r>
            <a:r>
              <a:rPr lang="en-US" sz="2200" dirty="0" err="1">
                <a:latin typeface="Segoe UI Light" panose="020B0502040204020203" pitchFamily="34" charset="0"/>
                <a:cs typeface="Segoe UI Light" panose="020B0502040204020203" pitchFamily="34" charset="0"/>
              </a:rPr>
              <a:t>DateTime</a:t>
            </a:r>
            <a:r>
              <a:rPr lang="en-US" sz="2200" dirty="0">
                <a:latin typeface="Segoe UI Light" panose="020B0502040204020203" pitchFamily="34" charset="0"/>
                <a:cs typeface="Segoe UI Light" panose="020B0502040204020203" pitchFamily="34" charset="0"/>
              </a:rPr>
              <a:t> features: Year, Month, Day, of week/ of year, Quarter, Week of the year, Hour, Minute, Second. </a:t>
            </a:r>
          </a:p>
          <a:p>
            <a:pPr marL="342900" indent="-342900">
              <a:buFont typeface="Arial" panose="020B0604020202020204" pitchFamily="34" charset="0"/>
              <a:buChar char="•"/>
            </a:pPr>
            <a:r>
              <a:rPr lang="en-US" sz="2200" dirty="0">
                <a:latin typeface="Segoe UI Light" panose="020B0502040204020203" pitchFamily="34" charset="0"/>
                <a:cs typeface="Segoe UI Light" panose="020B0502040204020203" pitchFamily="34" charset="0"/>
              </a:rPr>
              <a:t>For Text features: Term frequency based on word unigram, bi-grams and Char tri-char, Count vectorizer</a:t>
            </a:r>
          </a:p>
          <a:p>
            <a:r>
              <a:rPr lang="en-US" sz="2200" b="1" dirty="0">
                <a:latin typeface="Segoe UI Light" panose="020B0502040204020203" pitchFamily="34" charset="0"/>
                <a:cs typeface="Segoe UI Light" panose="020B0502040204020203" pitchFamily="34" charset="0"/>
              </a:rPr>
              <a:t>Transformations and encodings</a:t>
            </a:r>
          </a:p>
          <a:p>
            <a:pPr marL="342900" indent="-342900">
              <a:buFont typeface="Arial" panose="020B0604020202020204" pitchFamily="34" charset="0"/>
              <a:buChar char="•"/>
            </a:pPr>
            <a:r>
              <a:rPr lang="en-US" sz="2200" dirty="0">
                <a:latin typeface="Segoe UI Light" panose="020B0502040204020203" pitchFamily="34" charset="0"/>
                <a:cs typeface="Segoe UI Light" panose="020B0502040204020203" pitchFamily="34" charset="0"/>
              </a:rPr>
              <a:t>Numeric features with very few unique values are transformed into categorical features. Depending on cardinality of categorical features label encoding or (hashing) one-hot encoding is performed</a:t>
            </a:r>
            <a:endParaRPr lang="en-US" sz="2000" dirty="0">
              <a:latin typeface="Segoe UI Light" panose="020B0502040204020203" pitchFamily="34" charset="0"/>
              <a:cs typeface="Segoe UI Light" panose="020B0502040204020203" pitchFamily="34" charset="0"/>
            </a:endParaRPr>
          </a:p>
        </p:txBody>
      </p:sp>
      <p:sp>
        <p:nvSpPr>
          <p:cNvPr id="10" name="Rectangle 9">
            <a:extLst>
              <a:ext uri="{FF2B5EF4-FFF2-40B4-BE49-F238E27FC236}">
                <a16:creationId xmlns:a16="http://schemas.microsoft.com/office/drawing/2014/main" id="{AFC74B3C-4344-40CE-A026-F99B203DB3C4}"/>
              </a:ext>
            </a:extLst>
          </p:cNvPr>
          <p:cNvSpPr/>
          <p:nvPr/>
        </p:nvSpPr>
        <p:spPr>
          <a:xfrm>
            <a:off x="838200" y="365125"/>
            <a:ext cx="11413452" cy="76944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Feature Engineering</a:t>
            </a:r>
          </a:p>
        </p:txBody>
      </p:sp>
      <p:pic>
        <p:nvPicPr>
          <p:cNvPr id="5" name="picture">
            <a:extLst>
              <a:ext uri="{FF2B5EF4-FFF2-40B4-BE49-F238E27FC236}">
                <a16:creationId xmlns:a16="http://schemas.microsoft.com/office/drawing/2014/main" id="{B956EBBA-0136-47BE-8E6E-27EFC533778D}"/>
              </a:ext>
            </a:extLst>
          </p:cNvPr>
          <p:cNvPicPr/>
          <p:nvPr/>
        </p:nvPicPr>
        <p:blipFill>
          <a:blip r:embed="rId2">
            <a:extLst>
              <a:ext uri="{28A0092B-C50C-407E-A947-70E740481C1C}">
                <a14:useLocalDpi xmlns:a14="http://schemas.microsoft.com/office/drawing/2010/main" val="0"/>
              </a:ext>
            </a:extLst>
          </a:blip>
          <a:stretch>
            <a:fillRect/>
          </a:stretch>
        </p:blipFill>
        <p:spPr>
          <a:xfrm>
            <a:off x="2292413" y="1134566"/>
            <a:ext cx="6686939" cy="1337218"/>
          </a:xfrm>
          <a:prstGeom prst="rect">
            <a:avLst/>
          </a:prstGeom>
          <a:ln w="38100" cap="sq">
            <a:solidFill>
              <a:schemeClr val="accent1">
                <a:lumMod val="40000"/>
                <a:lumOff val="60000"/>
              </a:schemeClr>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76693102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8A81E7-9825-4BA3-87D3-030B9AF85035}"/>
              </a:ext>
            </a:extLst>
          </p:cNvPr>
          <p:cNvSpPr>
            <a:spLocks noGrp="1"/>
          </p:cNvSpPr>
          <p:nvPr>
            <p:ph type="title"/>
          </p:nvPr>
        </p:nvSpPr>
        <p:spPr>
          <a:xfrm>
            <a:off x="361100" y="225783"/>
            <a:ext cx="11237870" cy="502246"/>
          </a:xfrm>
        </p:spPr>
        <p:txBody>
          <a:bodyPr>
            <a:normAutofit fontScale="90000"/>
          </a:bodyPr>
          <a:lstStyle/>
          <a:p>
            <a:pPr algn="l"/>
            <a:r>
              <a:rPr lang="en-US" sz="3200" dirty="0"/>
              <a:t>Preview Features Updates</a:t>
            </a:r>
          </a:p>
        </p:txBody>
      </p:sp>
      <p:graphicFrame>
        <p:nvGraphicFramePr>
          <p:cNvPr id="20" name="Diagram 19">
            <a:extLst>
              <a:ext uri="{FF2B5EF4-FFF2-40B4-BE49-F238E27FC236}">
                <a16:creationId xmlns:a16="http://schemas.microsoft.com/office/drawing/2014/main" id="{A5563C4D-3DFC-48A6-9E7E-628A6DA14AAB}"/>
              </a:ext>
            </a:extLst>
          </p:cNvPr>
          <p:cNvGraphicFramePr/>
          <p:nvPr>
            <p:extLst>
              <p:ext uri="{D42A27DB-BD31-4B8C-83A1-F6EECF244321}">
                <p14:modId xmlns:p14="http://schemas.microsoft.com/office/powerpoint/2010/main" val="159062504"/>
              </p:ext>
            </p:extLst>
          </p:nvPr>
        </p:nvGraphicFramePr>
        <p:xfrm>
          <a:off x="361100" y="839996"/>
          <a:ext cx="11694667"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02463303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28D201-DE7F-495C-8627-12EC5D0ED883}"/>
              </a:ext>
            </a:extLst>
          </p:cNvPr>
          <p:cNvSpPr>
            <a:spLocks noGrp="1"/>
          </p:cNvSpPr>
          <p:nvPr>
            <p:ph type="title"/>
          </p:nvPr>
        </p:nvSpPr>
        <p:spPr>
          <a:xfrm>
            <a:off x="2370667" y="2187743"/>
            <a:ext cx="5293449" cy="2482515"/>
          </a:xfrm>
        </p:spPr>
        <p:txBody>
          <a:bodyPr vert="horz" lIns="91440" tIns="45720" rIns="91440" bIns="45720" rtlCol="0" anchor="ctr">
            <a:normAutofit/>
          </a:bodyPr>
          <a:lstStyle/>
          <a:p>
            <a:r>
              <a:rPr lang="en-US" sz="6000" kern="1200">
                <a:solidFill>
                  <a:schemeClr val="tx1"/>
                </a:solidFill>
                <a:latin typeface="+mj-lt"/>
                <a:ea typeface="+mj-ea"/>
                <a:cs typeface="+mj-cs"/>
              </a:rPr>
              <a:t>Workshop</a:t>
            </a:r>
            <a:endParaRPr lang="en-US" sz="6000" kern="1200" dirty="0">
              <a:solidFill>
                <a:schemeClr val="tx1"/>
              </a:solidFill>
              <a:latin typeface="+mj-lt"/>
              <a:ea typeface="+mj-ea"/>
              <a:cs typeface="+mj-cs"/>
            </a:endParaRPr>
          </a:p>
        </p:txBody>
      </p:sp>
      <p:pic>
        <p:nvPicPr>
          <p:cNvPr id="6" name="Graphic 5" descr="Tools">
            <a:extLst>
              <a:ext uri="{FF2B5EF4-FFF2-40B4-BE49-F238E27FC236}">
                <a16:creationId xmlns:a16="http://schemas.microsoft.com/office/drawing/2014/main" id="{0AE5B8E7-EE72-4312-9D83-67C9FD03DEB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38201" y="2743201"/>
            <a:ext cx="1371600" cy="1371600"/>
          </a:xfrm>
          <a:prstGeom prst="rect">
            <a:avLst/>
          </a:prstGeom>
        </p:spPr>
      </p:pic>
      <p:pic>
        <p:nvPicPr>
          <p:cNvPr id="8" name="Graphic 7">
            <a:extLst>
              <a:ext uri="{FF2B5EF4-FFF2-40B4-BE49-F238E27FC236}">
                <a16:creationId xmlns:a16="http://schemas.microsoft.com/office/drawing/2014/main" id="{FE8A7746-BAF7-4F00-9FF4-F20B5B6C990D}"/>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2">
            <a:alphaModFix amt="15000"/>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641431" y="816337"/>
            <a:ext cx="5225327" cy="5225327"/>
          </a:xfrm>
          <a:prstGeom prst="rect">
            <a:avLst/>
          </a:prstGeom>
        </p:spPr>
      </p:pic>
    </p:spTree>
    <p:extLst>
      <p:ext uri="{BB962C8B-B14F-4D97-AF65-F5344CB8AC3E}">
        <p14:creationId xmlns:p14="http://schemas.microsoft.com/office/powerpoint/2010/main" val="18636468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Title 9"/>
          <p:cNvSpPr>
            <a:spLocks noGrp="1"/>
          </p:cNvSpPr>
          <p:nvPr>
            <p:ph type="title"/>
          </p:nvPr>
        </p:nvSpPr>
        <p:spPr>
          <a:xfrm>
            <a:off x="655320" y="365125"/>
            <a:ext cx="5120114" cy="1692794"/>
          </a:xfrm>
        </p:spPr>
        <p:txBody>
          <a:bodyPr vert="horz" lIns="91440" tIns="45720" rIns="91440" bIns="45720" rtlCol="0" anchor="ctr">
            <a:normAutofit/>
          </a:bodyPr>
          <a:lstStyle/>
          <a:p>
            <a:r>
              <a:rPr lang="en-US" sz="4400">
                <a:solidFill>
                  <a:schemeClr val="tx1"/>
                </a:solidFill>
              </a:rPr>
              <a:t>Agenda</a:t>
            </a:r>
          </a:p>
        </p:txBody>
      </p:sp>
      <p:cxnSp>
        <p:nvCxnSpPr>
          <p:cNvPr id="25" name="Straight Arrow Connector 20">
            <a:extLst>
              <a:ext uri="{FF2B5EF4-FFF2-40B4-BE49-F238E27FC236}">
                <a16:creationId xmlns:a16="http://schemas.microsoft.com/office/drawing/2014/main" id="{E4A809D5-3600-46D4-A466-67F2349A54FB}"/>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655320" y="2316480"/>
            <a:ext cx="4572000" cy="0"/>
          </a:xfrm>
          <a:prstGeom prst="straightConnector1">
            <a:avLst/>
          </a:prstGeom>
          <a:ln w="19050" cap="sq">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16" name="Text Placeholder 15"/>
          <p:cNvSpPr>
            <a:spLocks noGrp="1"/>
          </p:cNvSpPr>
          <p:nvPr>
            <p:ph type="body" sz="quarter" idx="4294967295"/>
          </p:nvPr>
        </p:nvSpPr>
        <p:spPr>
          <a:xfrm>
            <a:off x="655321" y="2575034"/>
            <a:ext cx="5120113" cy="3462228"/>
          </a:xfrm>
        </p:spPr>
        <p:txBody>
          <a:bodyPr vert="horz" lIns="91440" tIns="45720" rIns="91440" bIns="45720" rtlCol="0">
            <a:normAutofit/>
          </a:bodyPr>
          <a:lstStyle/>
          <a:p>
            <a:pPr marL="342900" lvl="0">
              <a:spcBef>
                <a:spcPts val="1000"/>
              </a:spcBef>
              <a:buSzTx/>
            </a:pPr>
            <a:r>
              <a:rPr lang="en-US" sz="1800"/>
              <a:t>Welcome Video</a:t>
            </a:r>
          </a:p>
          <a:p>
            <a:pPr marL="342900" lvl="0">
              <a:spcBef>
                <a:spcPts val="1000"/>
              </a:spcBef>
              <a:buSzTx/>
            </a:pPr>
            <a:r>
              <a:rPr lang="en-US" sz="1800"/>
              <a:t>Why Automated Machine Learning</a:t>
            </a:r>
          </a:p>
          <a:p>
            <a:pPr marL="342900" lvl="0"/>
            <a:r>
              <a:rPr lang="en-US" sz="1800"/>
              <a:t>Automated ML Capabilities</a:t>
            </a:r>
          </a:p>
          <a:p>
            <a:pPr marL="342900" lvl="0"/>
            <a:r>
              <a:rPr lang="en-US" sz="1800"/>
              <a:t>How to Get Started</a:t>
            </a:r>
          </a:p>
        </p:txBody>
      </p:sp>
      <p:pic>
        <p:nvPicPr>
          <p:cNvPr id="4" name="Picture Placeholder 3" descr="A person sitting in a living room&#10;&#10;Description automatically generated">
            <a:extLst>
              <a:ext uri="{FF2B5EF4-FFF2-40B4-BE49-F238E27FC236}">
                <a16:creationId xmlns:a16="http://schemas.microsoft.com/office/drawing/2014/main" id="{CB4B5CCE-E3F0-40A8-8ADE-22403304755D}"/>
              </a:ext>
            </a:extLst>
          </p:cNvPr>
          <p:cNvPicPr>
            <a:picLocks noGrp="1" noChangeAspect="1"/>
          </p:cNvPicPr>
          <p:nvPr>
            <p:ph type="pic" sz="quarter" idx="10"/>
          </p:nvPr>
        </p:nvPicPr>
        <p:blipFill rotWithShape="1">
          <a:blip r:embed="rId3">
            <a:extLst>
              <a:ext uri="{28A0092B-C50C-407E-A947-70E740481C1C}">
                <a14:useLocalDpi xmlns:a14="http://schemas.microsoft.com/office/drawing/2010/main" val="0"/>
              </a:ext>
            </a:extLst>
          </a:blip>
          <a:srcRect l="19277" r="19275" b="-1"/>
          <a:stretch/>
        </p:blipFill>
        <p:spPr>
          <a:xfrm>
            <a:off x="5878849" y="10"/>
            <a:ext cx="6313150" cy="6857987"/>
          </a:xfrm>
          <a:custGeom>
            <a:avLst/>
            <a:gdLst>
              <a:gd name="connsiteX0" fmla="*/ 65565 w 6313150"/>
              <a:gd name="connsiteY0" fmla="*/ 0 h 6857997"/>
              <a:gd name="connsiteX1" fmla="*/ 6313150 w 6313150"/>
              <a:gd name="connsiteY1" fmla="*/ 0 h 6857997"/>
              <a:gd name="connsiteX2" fmla="*/ 6313150 w 6313150"/>
              <a:gd name="connsiteY2" fmla="*/ 6857997 h 6857997"/>
              <a:gd name="connsiteX3" fmla="*/ 3293946 w 6313150"/>
              <a:gd name="connsiteY3" fmla="*/ 6857997 h 6857997"/>
              <a:gd name="connsiteX4" fmla="*/ 3235857 w 6313150"/>
              <a:gd name="connsiteY4" fmla="*/ 6823061 h 6857997"/>
              <a:gd name="connsiteX5" fmla="*/ 0 w 6313150"/>
              <a:gd name="connsiteY5" fmla="*/ 951803 h 6857997"/>
              <a:gd name="connsiteX6" fmla="*/ 31536 w 6313150"/>
              <a:gd name="connsiteY6" fmla="*/ 285771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13150" h="6857997">
                <a:moveTo>
                  <a:pt x="65565" y="0"/>
                </a:moveTo>
                <a:lnTo>
                  <a:pt x="6313150" y="0"/>
                </a:lnTo>
                <a:lnTo>
                  <a:pt x="6313150" y="6857997"/>
                </a:lnTo>
                <a:lnTo>
                  <a:pt x="3293946" y="6857997"/>
                </a:lnTo>
                <a:lnTo>
                  <a:pt x="3235857" y="6823061"/>
                </a:lnTo>
                <a:cubicBezTo>
                  <a:pt x="1291240" y="5592803"/>
                  <a:pt x="0" y="3423096"/>
                  <a:pt x="0" y="951803"/>
                </a:cubicBezTo>
                <a:cubicBezTo>
                  <a:pt x="0" y="727140"/>
                  <a:pt x="10673" y="504970"/>
                  <a:pt x="31536" y="285771"/>
                </a:cubicBezTo>
                <a:close/>
              </a:path>
            </a:pathLst>
          </a:custGeom>
        </p:spPr>
      </p:pic>
    </p:spTree>
    <p:extLst>
      <p:ext uri="{BB962C8B-B14F-4D97-AF65-F5344CB8AC3E}">
        <p14:creationId xmlns:p14="http://schemas.microsoft.com/office/powerpoint/2010/main" val="37994962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28D201-DE7F-495C-8627-12EC5D0ED883}"/>
              </a:ext>
            </a:extLst>
          </p:cNvPr>
          <p:cNvSpPr>
            <a:spLocks noGrp="1"/>
          </p:cNvSpPr>
          <p:nvPr>
            <p:ph type="title"/>
          </p:nvPr>
        </p:nvSpPr>
        <p:spPr>
          <a:xfrm>
            <a:off x="338389" y="426537"/>
            <a:ext cx="9144000" cy="1381188"/>
          </a:xfrm>
        </p:spPr>
        <p:txBody>
          <a:bodyPr vert="horz" lIns="91440" tIns="45720" rIns="91440" bIns="45720" rtlCol="0" anchor="ctr">
            <a:normAutofit fontScale="90000"/>
          </a:bodyPr>
          <a:lstStyle/>
          <a:p>
            <a:r>
              <a:rPr lang="en-US" sz="2400" dirty="0"/>
              <a:t>1. Select your workshop sample</a:t>
            </a:r>
            <a:br>
              <a:rPr lang="en-US" sz="2400" dirty="0"/>
            </a:br>
            <a:r>
              <a:rPr lang="en-US" sz="2400" dirty="0"/>
              <a:t>&gt; Energy Demand : aka.ms/</a:t>
            </a:r>
            <a:r>
              <a:rPr lang="en-US" sz="2400" dirty="0" err="1"/>
              <a:t>GlobalAINotebook</a:t>
            </a:r>
            <a:br>
              <a:rPr lang="en-US" sz="2400" dirty="0"/>
            </a:br>
            <a:r>
              <a:rPr lang="en-US" sz="2400" dirty="0"/>
              <a:t>&gt; NASA Predictive Maintaince : aka.ms/GlobalAINotebook1</a:t>
            </a:r>
            <a:br>
              <a:rPr lang="en-US" sz="2400" dirty="0"/>
            </a:br>
            <a:endParaRPr lang="en-US" sz="2400" kern="1200" dirty="0"/>
          </a:p>
        </p:txBody>
      </p:sp>
      <p:pic>
        <p:nvPicPr>
          <p:cNvPr id="4" name="Picture 3">
            <a:extLst>
              <a:ext uri="{FF2B5EF4-FFF2-40B4-BE49-F238E27FC236}">
                <a16:creationId xmlns:a16="http://schemas.microsoft.com/office/drawing/2014/main" id="{D4907E30-FF61-48DF-84EF-0C2BDFBD8233}"/>
              </a:ext>
            </a:extLst>
          </p:cNvPr>
          <p:cNvPicPr>
            <a:picLocks noChangeAspect="1"/>
          </p:cNvPicPr>
          <p:nvPr/>
        </p:nvPicPr>
        <p:blipFill>
          <a:blip r:embed="rId3"/>
          <a:stretch>
            <a:fillRect/>
          </a:stretch>
        </p:blipFill>
        <p:spPr>
          <a:xfrm>
            <a:off x="7094343" y="325650"/>
            <a:ext cx="4268605" cy="1171546"/>
          </a:xfrm>
          <a:prstGeom prst="rect">
            <a:avLst/>
          </a:prstGeom>
        </p:spPr>
      </p:pic>
      <p:sp>
        <p:nvSpPr>
          <p:cNvPr id="26" name="Title 1">
            <a:extLst>
              <a:ext uri="{FF2B5EF4-FFF2-40B4-BE49-F238E27FC236}">
                <a16:creationId xmlns:a16="http://schemas.microsoft.com/office/drawing/2014/main" id="{1E72D8F4-1671-4EAA-BF27-D7E91DCF3E24}"/>
              </a:ext>
            </a:extLst>
          </p:cNvPr>
          <p:cNvSpPr txBox="1">
            <a:spLocks/>
          </p:cNvSpPr>
          <p:nvPr/>
        </p:nvSpPr>
        <p:spPr>
          <a:xfrm>
            <a:off x="437113" y="1311110"/>
            <a:ext cx="9144000" cy="138118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00" dirty="0"/>
              <a:t>2. Click on Clone</a:t>
            </a:r>
          </a:p>
        </p:txBody>
      </p:sp>
      <p:pic>
        <p:nvPicPr>
          <p:cNvPr id="5" name="Picture 4">
            <a:extLst>
              <a:ext uri="{FF2B5EF4-FFF2-40B4-BE49-F238E27FC236}">
                <a16:creationId xmlns:a16="http://schemas.microsoft.com/office/drawing/2014/main" id="{E6A92135-BD91-4DD5-A128-AB28A0726E4D}"/>
              </a:ext>
            </a:extLst>
          </p:cNvPr>
          <p:cNvPicPr>
            <a:picLocks noChangeAspect="1"/>
          </p:cNvPicPr>
          <p:nvPr/>
        </p:nvPicPr>
        <p:blipFill>
          <a:blip r:embed="rId4"/>
          <a:stretch>
            <a:fillRect/>
          </a:stretch>
        </p:blipFill>
        <p:spPr>
          <a:xfrm>
            <a:off x="6819795" y="1791113"/>
            <a:ext cx="4578741" cy="1639549"/>
          </a:xfrm>
          <a:prstGeom prst="rect">
            <a:avLst/>
          </a:prstGeom>
        </p:spPr>
      </p:pic>
      <p:sp>
        <p:nvSpPr>
          <p:cNvPr id="6" name="Rectangle: Rounded Corners 5">
            <a:extLst>
              <a:ext uri="{FF2B5EF4-FFF2-40B4-BE49-F238E27FC236}">
                <a16:creationId xmlns:a16="http://schemas.microsoft.com/office/drawing/2014/main" id="{94114CEA-C0FE-463F-85B4-212D0AD4C5F0}"/>
              </a:ext>
            </a:extLst>
          </p:cNvPr>
          <p:cNvSpPr/>
          <p:nvPr/>
        </p:nvSpPr>
        <p:spPr>
          <a:xfrm>
            <a:off x="10378703" y="2307514"/>
            <a:ext cx="425736" cy="181194"/>
          </a:xfrm>
          <a:prstGeom prst="round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itle 1">
            <a:extLst>
              <a:ext uri="{FF2B5EF4-FFF2-40B4-BE49-F238E27FC236}">
                <a16:creationId xmlns:a16="http://schemas.microsoft.com/office/drawing/2014/main" id="{57E2C78D-E032-447F-9998-350DD19CB3E3}"/>
              </a:ext>
            </a:extLst>
          </p:cNvPr>
          <p:cNvSpPr txBox="1">
            <a:spLocks/>
          </p:cNvSpPr>
          <p:nvPr/>
        </p:nvSpPr>
        <p:spPr>
          <a:xfrm>
            <a:off x="437113" y="3632953"/>
            <a:ext cx="10961423" cy="1381188"/>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00" dirty="0"/>
              <a:t>3.Enter Project name, Project ID and uncheck Public tick box</a:t>
            </a:r>
            <a:br>
              <a:rPr lang="en-US" sz="2400" dirty="0"/>
            </a:br>
            <a:endParaRPr lang="en-US" sz="2400" dirty="0"/>
          </a:p>
        </p:txBody>
      </p:sp>
      <p:pic>
        <p:nvPicPr>
          <p:cNvPr id="33" name="Picture 32">
            <a:extLst>
              <a:ext uri="{FF2B5EF4-FFF2-40B4-BE49-F238E27FC236}">
                <a16:creationId xmlns:a16="http://schemas.microsoft.com/office/drawing/2014/main" id="{2F07EA26-6328-4B30-8894-F4D6FEBE0E5C}"/>
              </a:ext>
            </a:extLst>
          </p:cNvPr>
          <p:cNvPicPr>
            <a:picLocks noChangeAspect="1"/>
          </p:cNvPicPr>
          <p:nvPr/>
        </p:nvPicPr>
        <p:blipFill>
          <a:blip r:embed="rId5"/>
          <a:stretch>
            <a:fillRect/>
          </a:stretch>
        </p:blipFill>
        <p:spPr>
          <a:xfrm>
            <a:off x="9293430" y="3910665"/>
            <a:ext cx="2069518" cy="1511525"/>
          </a:xfrm>
          <a:prstGeom prst="rect">
            <a:avLst/>
          </a:prstGeom>
        </p:spPr>
      </p:pic>
      <p:sp>
        <p:nvSpPr>
          <p:cNvPr id="36" name="Title 6">
            <a:extLst>
              <a:ext uri="{FF2B5EF4-FFF2-40B4-BE49-F238E27FC236}">
                <a16:creationId xmlns:a16="http://schemas.microsoft.com/office/drawing/2014/main" id="{7AF80110-BBA2-47D0-A8D0-EA773531F5F2}"/>
              </a:ext>
            </a:extLst>
          </p:cNvPr>
          <p:cNvSpPr txBox="1">
            <a:spLocks/>
          </p:cNvSpPr>
          <p:nvPr/>
        </p:nvSpPr>
        <p:spPr>
          <a:xfrm>
            <a:off x="407616" y="5161982"/>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00" dirty="0"/>
              <a:t>4. Open notebook and follow instructions</a:t>
            </a:r>
          </a:p>
        </p:txBody>
      </p:sp>
    </p:spTree>
    <p:extLst>
      <p:ext uri="{BB962C8B-B14F-4D97-AF65-F5344CB8AC3E}">
        <p14:creationId xmlns:p14="http://schemas.microsoft.com/office/powerpoint/2010/main" val="11473492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26"/>
                                        </p:tgtEl>
                                        <p:attrNameLst>
                                          <p:attrName>style.visibility</p:attrName>
                                        </p:attrNameLst>
                                      </p:cBhvr>
                                      <p:to>
                                        <p:strVal val="visible"/>
                                      </p:to>
                                    </p:set>
                                    <p:animEffect transition="in" filter="fade">
                                      <p:cBhvr>
                                        <p:cTn id="12" dur="1000"/>
                                        <p:tgtEl>
                                          <p:spTgt spid="26"/>
                                        </p:tgtEl>
                                      </p:cBhvr>
                                    </p:animEffect>
                                    <p:anim calcmode="lin" valueType="num">
                                      <p:cBhvr>
                                        <p:cTn id="13" dur="1000" fill="hold"/>
                                        <p:tgtEl>
                                          <p:spTgt spid="26"/>
                                        </p:tgtEl>
                                        <p:attrNameLst>
                                          <p:attrName>ppt_x</p:attrName>
                                        </p:attrNameLst>
                                      </p:cBhvr>
                                      <p:tavLst>
                                        <p:tav tm="0">
                                          <p:val>
                                            <p:strVal val="#ppt_x"/>
                                          </p:val>
                                        </p:tav>
                                        <p:tav tm="100000">
                                          <p:val>
                                            <p:strVal val="#ppt_x"/>
                                          </p:val>
                                        </p:tav>
                                      </p:tavLst>
                                    </p:anim>
                                    <p:anim calcmode="lin" valueType="num">
                                      <p:cBhvr>
                                        <p:cTn id="14" dur="1000" fill="hold"/>
                                        <p:tgtEl>
                                          <p:spTgt spid="26"/>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30"/>
                                        </p:tgtEl>
                                        <p:attrNameLst>
                                          <p:attrName>style.visibility</p:attrName>
                                        </p:attrNameLst>
                                      </p:cBhvr>
                                      <p:to>
                                        <p:strVal val="visible"/>
                                      </p:to>
                                    </p:set>
                                    <p:animEffect transition="in" filter="fade">
                                      <p:cBhvr>
                                        <p:cTn id="17" dur="1000"/>
                                        <p:tgtEl>
                                          <p:spTgt spid="30"/>
                                        </p:tgtEl>
                                      </p:cBhvr>
                                    </p:animEffect>
                                    <p:anim calcmode="lin" valueType="num">
                                      <p:cBhvr>
                                        <p:cTn id="18" dur="1000" fill="hold"/>
                                        <p:tgtEl>
                                          <p:spTgt spid="30"/>
                                        </p:tgtEl>
                                        <p:attrNameLst>
                                          <p:attrName>ppt_x</p:attrName>
                                        </p:attrNameLst>
                                      </p:cBhvr>
                                      <p:tavLst>
                                        <p:tav tm="0">
                                          <p:val>
                                            <p:strVal val="#ppt_x"/>
                                          </p:val>
                                        </p:tav>
                                        <p:tav tm="100000">
                                          <p:val>
                                            <p:strVal val="#ppt_x"/>
                                          </p:val>
                                        </p:tav>
                                      </p:tavLst>
                                    </p:anim>
                                    <p:anim calcmode="lin" valueType="num">
                                      <p:cBhvr>
                                        <p:cTn id="19" dur="1000" fill="hold"/>
                                        <p:tgtEl>
                                          <p:spTgt spid="3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6" grpId="0"/>
      <p:bldP spid="30"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a:xfrm>
            <a:off x="567612" y="912833"/>
            <a:ext cx="3494362" cy="4930246"/>
          </a:xfrm>
        </p:spPr>
        <p:txBody>
          <a:bodyPr vert="horz" lIns="91440" tIns="45720" rIns="91440" bIns="45720" rtlCol="0" anchor="ctr">
            <a:normAutofit/>
          </a:bodyPr>
          <a:lstStyle/>
          <a:p>
            <a:pPr algn="r"/>
            <a:r>
              <a:rPr lang="en-US" sz="4400" dirty="0">
                <a:solidFill>
                  <a:schemeClr val="accent1"/>
                </a:solidFill>
                <a:latin typeface="Segoe UI Light" panose="020B0502040204020203" pitchFamily="34" charset="0"/>
                <a:ea typeface="+mj-ea"/>
                <a:cs typeface="Segoe UI Light" panose="020B0502040204020203" pitchFamily="34" charset="0"/>
              </a:rPr>
              <a:t>Resources</a:t>
            </a:r>
            <a:br>
              <a:rPr lang="en-US" sz="4400" kern="1200" dirty="0">
                <a:solidFill>
                  <a:schemeClr val="accent1"/>
                </a:solidFill>
                <a:latin typeface="+mj-lt"/>
                <a:ea typeface="+mj-ea"/>
                <a:cs typeface="+mj-cs"/>
              </a:rPr>
            </a:br>
            <a:endParaRPr lang="en-US" sz="4400" kern="1200" dirty="0">
              <a:solidFill>
                <a:schemeClr val="accent1"/>
              </a:solidFill>
              <a:latin typeface="+mj-lt"/>
              <a:ea typeface="+mj-ea"/>
              <a:cs typeface="+mj-cs"/>
            </a:endParaRPr>
          </a:p>
        </p:txBody>
      </p:sp>
      <p:sp>
        <p:nvSpPr>
          <p:cNvPr id="16" name="Text Placeholder 15"/>
          <p:cNvSpPr>
            <a:spLocks noGrp="1"/>
          </p:cNvSpPr>
          <p:nvPr>
            <p:ph type="body" sz="half" idx="2"/>
          </p:nvPr>
        </p:nvSpPr>
        <p:spPr>
          <a:xfrm>
            <a:off x="4749282" y="963877"/>
            <a:ext cx="6477685" cy="4930246"/>
          </a:xfrm>
        </p:spPr>
        <p:txBody>
          <a:bodyPr vert="horz" lIns="91440" tIns="45720" rIns="91440" bIns="45720" rtlCol="0" anchor="ctr">
            <a:normAutofit/>
          </a:bodyPr>
          <a:lstStyle/>
          <a:p>
            <a:pPr marL="342900" lvl="0" indent="-228600">
              <a:spcBef>
                <a:spcPts val="1000"/>
              </a:spcBef>
              <a:buSzTx/>
              <a:buFont typeface="Arial" panose="020B0604020202020204" pitchFamily="34" charset="0"/>
              <a:buChar char="•"/>
            </a:pPr>
            <a:endParaRPr lang="en-US" sz="2000" dirty="0">
              <a:latin typeface="Segoe UI Light" panose="020B0502040204020203" pitchFamily="34" charset="0"/>
              <a:cs typeface="Segoe UI Light" panose="020B0502040204020203" pitchFamily="34" charset="0"/>
              <a:hlinkClick r:id="rId3"/>
            </a:endParaRPr>
          </a:p>
          <a:p>
            <a:pPr marL="342900" indent="-228600">
              <a:buFont typeface="Arial" panose="020B0604020202020204" pitchFamily="34" charset="0"/>
              <a:buChar char="•"/>
            </a:pPr>
            <a:r>
              <a:rPr lang="en-US" sz="2000" dirty="0">
                <a:latin typeface="Segoe UI Light" panose="020B0502040204020203" pitchFamily="34" charset="0"/>
                <a:cs typeface="Segoe UI Light" panose="020B0502040204020203" pitchFamily="34" charset="0"/>
              </a:rPr>
              <a:t>Product Feedback : </a:t>
            </a:r>
            <a:r>
              <a:rPr lang="en-US" sz="2000" dirty="0">
                <a:latin typeface="Segoe UI Light" panose="020B0502040204020203" pitchFamily="34" charset="0"/>
                <a:cs typeface="Segoe UI Light" panose="020B0502040204020203" pitchFamily="34" charset="0"/>
                <a:hlinkClick r:id="rId3"/>
              </a:rPr>
              <a:t>AskAutomatedML@microsoft.com</a:t>
            </a:r>
            <a:endParaRPr lang="en-US" sz="2000" dirty="0">
              <a:latin typeface="Segoe UI Light" panose="020B0502040204020203" pitchFamily="34" charset="0"/>
              <a:cs typeface="Segoe UI Light" panose="020B0502040204020203" pitchFamily="34" charset="0"/>
            </a:endParaRPr>
          </a:p>
          <a:p>
            <a:pPr marL="342900" indent="-228600">
              <a:buFont typeface="Arial" panose="020B0604020202020204" pitchFamily="34" charset="0"/>
              <a:buChar char="•"/>
            </a:pPr>
            <a:endParaRPr lang="en-US" sz="2000" dirty="0">
              <a:latin typeface="Segoe UI Light" panose="020B0502040204020203" pitchFamily="34" charset="0"/>
              <a:cs typeface="Segoe UI Light" panose="020B0502040204020203" pitchFamily="34" charset="0"/>
              <a:hlinkClick r:id="rId4"/>
            </a:endParaRPr>
          </a:p>
          <a:p>
            <a:pPr marL="342900" indent="-228600">
              <a:buFont typeface="Arial" panose="020B0604020202020204" pitchFamily="34" charset="0"/>
              <a:buChar char="•"/>
            </a:pPr>
            <a:r>
              <a:rPr lang="en-US" sz="2000" dirty="0">
                <a:latin typeface="Segoe UI Light" panose="020B0502040204020203" pitchFamily="34" charset="0"/>
                <a:cs typeface="Segoe UI Light" panose="020B0502040204020203" pitchFamily="34" charset="0"/>
                <a:hlinkClick r:id="rId4"/>
              </a:rPr>
              <a:t>Documentation</a:t>
            </a:r>
            <a:endParaRPr lang="en-US" sz="2000" dirty="0">
              <a:latin typeface="Segoe UI Light" panose="020B0502040204020203" pitchFamily="34" charset="0"/>
              <a:cs typeface="Segoe UI Light" panose="020B0502040204020203" pitchFamily="34" charset="0"/>
            </a:endParaRPr>
          </a:p>
          <a:p>
            <a:pPr marL="342900" indent="-228600">
              <a:buFont typeface="Arial" panose="020B0604020202020204" pitchFamily="34" charset="0"/>
              <a:buChar char="•"/>
            </a:pPr>
            <a:endParaRPr lang="en-US" sz="2000" dirty="0">
              <a:latin typeface="Segoe UI Light" panose="020B0502040204020203" pitchFamily="34" charset="0"/>
              <a:cs typeface="Segoe UI Light" panose="020B0502040204020203" pitchFamily="34" charset="0"/>
              <a:hlinkClick r:id="rId5"/>
            </a:endParaRPr>
          </a:p>
          <a:p>
            <a:pPr marL="342900" indent="-228600">
              <a:buFont typeface="Arial" panose="020B0604020202020204" pitchFamily="34" charset="0"/>
              <a:buChar char="•"/>
            </a:pPr>
            <a:r>
              <a:rPr lang="en-US" sz="2000" dirty="0">
                <a:latin typeface="Segoe UI Light" panose="020B0502040204020203" pitchFamily="34" charset="0"/>
                <a:cs typeface="Segoe UI Light" panose="020B0502040204020203" pitchFamily="34" charset="0"/>
                <a:hlinkClick r:id="rId5"/>
              </a:rPr>
              <a:t>Sample notebooks</a:t>
            </a:r>
            <a:endParaRPr lang="en-US" sz="2000" dirty="0">
              <a:latin typeface="Segoe UI Light" panose="020B0502040204020203" pitchFamily="34" charset="0"/>
              <a:cs typeface="Segoe UI Light" panose="020B0502040204020203" pitchFamily="34" charset="0"/>
            </a:endParaRPr>
          </a:p>
          <a:p>
            <a:pPr marL="342900" indent="-228600">
              <a:buFont typeface="Arial" panose="020B0604020202020204" pitchFamily="34" charset="0"/>
              <a:buChar char="•"/>
            </a:pPr>
            <a:endParaRPr lang="en-US" sz="2000" dirty="0">
              <a:latin typeface="Segoe UI Light" panose="020B0502040204020203" pitchFamily="34" charset="0"/>
              <a:cs typeface="Segoe UI Light" panose="020B0502040204020203" pitchFamily="34" charset="0"/>
              <a:hlinkClick r:id="rId6"/>
            </a:endParaRPr>
          </a:p>
          <a:p>
            <a:pPr marL="342900" indent="-228600">
              <a:buFont typeface="Arial" panose="020B0604020202020204" pitchFamily="34" charset="0"/>
              <a:buChar char="•"/>
            </a:pPr>
            <a:r>
              <a:rPr lang="en-US" sz="2000" dirty="0">
                <a:latin typeface="Segoe UI Light" panose="020B0502040204020203" pitchFamily="34" charset="0"/>
                <a:cs typeface="Segoe UI Light" panose="020B0502040204020203" pitchFamily="34" charset="0"/>
                <a:hlinkClick r:id="rId6"/>
              </a:rPr>
              <a:t>Blog</a:t>
            </a:r>
            <a:endParaRPr lang="en-US" sz="2000" dirty="0">
              <a:latin typeface="Segoe UI Light" panose="020B0502040204020203" pitchFamily="34" charset="0"/>
              <a:cs typeface="Segoe UI Light" panose="020B0502040204020203" pitchFamily="34" charset="0"/>
            </a:endParaRPr>
          </a:p>
          <a:p>
            <a:pPr lvl="0">
              <a:spcBef>
                <a:spcPts val="1000"/>
              </a:spcBef>
              <a:buSzTx/>
            </a:pPr>
            <a:endParaRPr lang="en-US" sz="2000" dirty="0"/>
          </a:p>
        </p:txBody>
      </p:sp>
    </p:spTree>
    <p:extLst>
      <p:ext uri="{BB962C8B-B14F-4D97-AF65-F5344CB8AC3E}">
        <p14:creationId xmlns:p14="http://schemas.microsoft.com/office/powerpoint/2010/main" val="240022632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FB87E8DF-9D95-4C4D-A900-81795C2B43E2}"/>
              </a:ext>
            </a:extLst>
          </p:cNvPr>
          <p:cNvSpPr txBox="1">
            <a:spLocks/>
          </p:cNvSpPr>
          <p:nvPr/>
        </p:nvSpPr>
        <p:spPr bwMode="auto">
          <a:xfrm>
            <a:off x="2452380" y="2463390"/>
            <a:ext cx="7287240" cy="2045549"/>
          </a:xfrm>
          <a:prstGeom prst="rect">
            <a:avLst/>
          </a:prstGeom>
          <a:noFill/>
        </p:spPr>
        <p:txBody>
          <a:bodyPr vert="horz" wrap="square" lIns="146304" tIns="91440" rIns="146304" bIns="91440" rtlCol="0" anchor="t" anchorCtr="0">
            <a:noAutofit/>
          </a:bodyPr>
          <a:lstStyle>
            <a:lvl1pPr algn="l" defTabSz="914367" rtl="0" eaLnBrk="1" latinLnBrk="0" hangingPunct="1">
              <a:lnSpc>
                <a:spcPct val="90000"/>
              </a:lnSpc>
              <a:spcBef>
                <a:spcPct val="0"/>
              </a:spcBef>
              <a:buNone/>
              <a:defRPr lang="en-US" sz="4705" b="0" kern="1200" cap="none" spc="-98" baseline="0">
                <a:ln w="3175">
                  <a:noFill/>
                </a:ln>
                <a:solidFill>
                  <a:schemeClr val="bg1"/>
                </a:solidFill>
                <a:effectLst/>
                <a:latin typeface="+mj-lt"/>
                <a:ea typeface="+mn-ea"/>
                <a:cs typeface="Segoe UI" pitchFamily="34" charset="0"/>
              </a:defRPr>
            </a:lvl1pPr>
          </a:lstStyle>
          <a:p>
            <a:pPr lvl="0" algn="ctr">
              <a:defRPr/>
            </a:pPr>
            <a:r>
              <a:rPr lang="en-US" sz="4700">
                <a:solidFill>
                  <a:srgbClr val="FFFFFF"/>
                </a:solidFill>
                <a:latin typeface="Segoe UI Light"/>
              </a:rPr>
              <a:t>Thank You!</a:t>
            </a:r>
            <a:endParaRPr kumimoji="0" lang="en-US" sz="2800" b="0" i="0" u="none" strike="noStrike" kern="1200" cap="none" spc="0" normalizeH="0" baseline="0" noProof="0">
              <a:ln w="3175">
                <a:noFill/>
              </a:ln>
              <a:solidFill>
                <a:srgbClr val="FFFFFF"/>
              </a:solidFill>
              <a:effectLst/>
              <a:uLnTx/>
              <a:uFillTx/>
              <a:latin typeface="Segoe UI Light" panose="020B0502040204020203" pitchFamily="34" charset="0"/>
              <a:cs typeface="Segoe UI Light" panose="020B0502040204020203" pitchFamily="34" charset="0"/>
            </a:endParaRPr>
          </a:p>
          <a:p>
            <a:pPr lvl="0" algn="ctr">
              <a:defRPr/>
            </a:pPr>
            <a:endParaRPr kumimoji="0" lang="en-US" sz="2800" b="0" i="0" u="none" strike="noStrike" kern="1200" cap="none" spc="0" normalizeH="0" baseline="0" noProof="0">
              <a:ln w="3175">
                <a:noFill/>
              </a:ln>
              <a:solidFill>
                <a:srgbClr val="FFFFFF"/>
              </a:solidFill>
              <a:effectLst/>
              <a:uLnTx/>
              <a:uFillTx/>
              <a:latin typeface="Segoe UI Light" panose="020B0502040204020203" pitchFamily="34" charset="0"/>
              <a:cs typeface="Segoe UI Light" panose="020B0502040204020203" pitchFamily="34" charset="0"/>
            </a:endParaRPr>
          </a:p>
          <a:p>
            <a:pPr algn="ctr">
              <a:defRPr/>
            </a:pPr>
            <a:r>
              <a:rPr lang="en-US" sz="2800" spc="0">
                <a:solidFill>
                  <a:srgbClr val="FFFFFF"/>
                </a:solidFill>
                <a:latin typeface="Segoe UI Light" panose="020B0502040204020203" pitchFamily="34" charset="0"/>
                <a:cs typeface="Segoe UI Light" panose="020B0502040204020203" pitchFamily="34" charset="0"/>
              </a:rPr>
              <a:t>AI Platform Team</a:t>
            </a:r>
            <a:endParaRPr kumimoji="0" lang="en-US" sz="2800" b="0" i="0" u="none" strike="noStrike" kern="1200" cap="none" spc="0" normalizeH="0" baseline="0" noProof="0">
              <a:ln w="3175">
                <a:noFill/>
              </a:ln>
              <a:solidFill>
                <a:srgbClr val="FFFFFF"/>
              </a:solidFill>
              <a:effectLst/>
              <a:uLnTx/>
              <a:uFillTx/>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402828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28D201-DE7F-495C-8627-12EC5D0ED883}"/>
              </a:ext>
            </a:extLst>
          </p:cNvPr>
          <p:cNvSpPr>
            <a:spLocks noGrp="1"/>
          </p:cNvSpPr>
          <p:nvPr>
            <p:ph type="title"/>
          </p:nvPr>
        </p:nvSpPr>
        <p:spPr>
          <a:xfrm>
            <a:off x="2370667" y="2187743"/>
            <a:ext cx="5293449" cy="2482515"/>
          </a:xfrm>
        </p:spPr>
        <p:txBody>
          <a:bodyPr vert="horz" lIns="91440" tIns="45720" rIns="91440" bIns="45720" rtlCol="0" anchor="ctr">
            <a:normAutofit/>
          </a:bodyPr>
          <a:lstStyle/>
          <a:p>
            <a:r>
              <a:rPr lang="en-US" sz="6000" kern="1200">
                <a:solidFill>
                  <a:schemeClr val="tx1"/>
                </a:solidFill>
                <a:latin typeface="+mj-lt"/>
                <a:ea typeface="+mj-ea"/>
                <a:cs typeface="+mj-cs"/>
                <a:hlinkClick r:id="rId2"/>
              </a:rPr>
              <a:t>Welcome Video</a:t>
            </a:r>
            <a:endParaRPr lang="en-US" sz="6000" kern="1200">
              <a:solidFill>
                <a:schemeClr val="tx1"/>
              </a:solidFill>
              <a:latin typeface="+mj-lt"/>
              <a:ea typeface="+mj-ea"/>
              <a:cs typeface="+mj-cs"/>
            </a:endParaRPr>
          </a:p>
        </p:txBody>
      </p:sp>
      <p:pic>
        <p:nvPicPr>
          <p:cNvPr id="22" name="Graphic 5" descr="Play">
            <a:extLst>
              <a:ext uri="{FF2B5EF4-FFF2-40B4-BE49-F238E27FC236}">
                <a16:creationId xmlns:a16="http://schemas.microsoft.com/office/drawing/2014/main" id="{D8C70D86-807D-43BB-9731-F233DD8FE1D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38201" y="2743201"/>
            <a:ext cx="1371600" cy="1371600"/>
          </a:xfrm>
          <a:prstGeom prst="rect">
            <a:avLst/>
          </a:prstGeom>
        </p:spPr>
      </p:pic>
      <p:pic>
        <p:nvPicPr>
          <p:cNvPr id="23" name="Graphic 7">
            <a:extLst>
              <a:ext uri="{FF2B5EF4-FFF2-40B4-BE49-F238E27FC236}">
                <a16:creationId xmlns:a16="http://schemas.microsoft.com/office/drawing/2014/main" id="{55E8FC1F-B104-4E59-995E-DEEF7516CB8F}"/>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3">
            <a:alphaModFix amt="15000"/>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641431" y="816337"/>
            <a:ext cx="5225327" cy="5225327"/>
          </a:xfrm>
          <a:prstGeom prst="rect">
            <a:avLst/>
          </a:prstGeom>
        </p:spPr>
      </p:pic>
    </p:spTree>
    <p:extLst>
      <p:ext uri="{BB962C8B-B14F-4D97-AF65-F5344CB8AC3E}">
        <p14:creationId xmlns:p14="http://schemas.microsoft.com/office/powerpoint/2010/main" val="30657538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58C420A-3AEC-4BE5-BD90-C854A306696C}"/>
              </a:ext>
            </a:extLst>
          </p:cNvPr>
          <p:cNvSpPr>
            <a:spLocks noGrp="1"/>
          </p:cNvSpPr>
          <p:nvPr>
            <p:ph type="title"/>
          </p:nvPr>
        </p:nvSpPr>
        <p:spPr bwMode="ltGray">
          <a:xfrm>
            <a:off x="564759" y="3817829"/>
            <a:ext cx="4974545" cy="1343025"/>
          </a:xfrm>
        </p:spPr>
        <p:txBody>
          <a:bodyPr/>
          <a:lstStyle/>
          <a:p>
            <a:r>
              <a:rPr lang="en-ZA"/>
              <a:t>Mission</a:t>
            </a:r>
          </a:p>
        </p:txBody>
      </p:sp>
      <p:cxnSp>
        <p:nvCxnSpPr>
          <p:cNvPr id="12" name="Straight Connector 11" title="Divider Line">
            <a:extLst>
              <a:ext uri="{FF2B5EF4-FFF2-40B4-BE49-F238E27FC236}">
                <a16:creationId xmlns:a16="http://schemas.microsoft.com/office/drawing/2014/main" id="{3E48293B-B086-4048-863C-47E7C47880A1}"/>
              </a:ext>
            </a:extLst>
          </p:cNvPr>
          <p:cNvCxnSpPr>
            <a:cxnSpLocks/>
          </p:cNvCxnSpPr>
          <p:nvPr/>
        </p:nvCxnSpPr>
        <p:spPr bwMode="ltGray">
          <a:xfrm>
            <a:off x="680727" y="5300429"/>
            <a:ext cx="4974545" cy="0"/>
          </a:xfrm>
          <a:prstGeom prst="line">
            <a:avLst/>
          </a:prstGeom>
          <a:ln>
            <a:gradFill>
              <a:gsLst>
                <a:gs pos="0">
                  <a:schemeClr val="accent1"/>
                </a:gs>
                <a:gs pos="51300">
                  <a:schemeClr val="accent2"/>
                </a:gs>
                <a:gs pos="100000">
                  <a:schemeClr val="accent3"/>
                </a:gs>
              </a:gsLst>
              <a:lin ang="0" scaled="0"/>
            </a:gradFill>
          </a:ln>
        </p:spPr>
        <p:style>
          <a:lnRef idx="1">
            <a:schemeClr val="accent1"/>
          </a:lnRef>
          <a:fillRef idx="0">
            <a:schemeClr val="accent1"/>
          </a:fillRef>
          <a:effectRef idx="0">
            <a:schemeClr val="accent1"/>
          </a:effectRef>
          <a:fontRef idx="minor">
            <a:schemeClr val="tx1"/>
          </a:fontRef>
        </p:style>
      </p:cxnSp>
      <p:sp>
        <p:nvSpPr>
          <p:cNvPr id="16" name="Rectangle 15" title="Icon Background">
            <a:extLst>
              <a:ext uri="{FF2B5EF4-FFF2-40B4-BE49-F238E27FC236}">
                <a16:creationId xmlns:a16="http://schemas.microsoft.com/office/drawing/2014/main" id="{05860339-31F7-4884-957E-5C40F818EBB8}"/>
              </a:ext>
            </a:extLst>
          </p:cNvPr>
          <p:cNvSpPr/>
          <p:nvPr/>
        </p:nvSpPr>
        <p:spPr>
          <a:xfrm>
            <a:off x="8439509" y="1989157"/>
            <a:ext cx="1114422" cy="11144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Text Placeholder 5">
            <a:extLst>
              <a:ext uri="{FF2B5EF4-FFF2-40B4-BE49-F238E27FC236}">
                <a16:creationId xmlns:a16="http://schemas.microsoft.com/office/drawing/2014/main" id="{0F0E443A-F987-4A67-86AD-557D61E47992}"/>
              </a:ext>
            </a:extLst>
          </p:cNvPr>
          <p:cNvSpPr>
            <a:spLocks noGrp="1"/>
          </p:cNvSpPr>
          <p:nvPr>
            <p:ph type="body" sz="quarter" idx="13"/>
          </p:nvPr>
        </p:nvSpPr>
        <p:spPr>
          <a:xfrm>
            <a:off x="7989423" y="3494900"/>
            <a:ext cx="2122201" cy="720000"/>
          </a:xfrm>
        </p:spPr>
        <p:txBody>
          <a:bodyPr>
            <a:normAutofit/>
          </a:bodyPr>
          <a:lstStyle/>
          <a:p>
            <a:r>
              <a:rPr lang="en-US" sz="2400"/>
              <a:t>Accelerate AI</a:t>
            </a:r>
            <a:endParaRPr lang="en-ZA" sz="2800"/>
          </a:p>
        </p:txBody>
      </p:sp>
      <p:cxnSp>
        <p:nvCxnSpPr>
          <p:cNvPr id="18" name="Straight Connector 17" title="Divider Line">
            <a:extLst>
              <a:ext uri="{FF2B5EF4-FFF2-40B4-BE49-F238E27FC236}">
                <a16:creationId xmlns:a16="http://schemas.microsoft.com/office/drawing/2014/main" id="{45C26E9A-3991-49A2-8D63-94C577E8A0AC}"/>
              </a:ext>
            </a:extLst>
          </p:cNvPr>
          <p:cNvCxnSpPr>
            <a:cxnSpLocks/>
          </p:cNvCxnSpPr>
          <p:nvPr/>
        </p:nvCxnSpPr>
        <p:spPr>
          <a:xfrm>
            <a:off x="8245309" y="4051863"/>
            <a:ext cx="15480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34535CB7-70A5-4E0C-835B-C50960E5BC69}"/>
              </a:ext>
            </a:extLst>
          </p:cNvPr>
          <p:cNvSpPr>
            <a:spLocks noGrp="1"/>
          </p:cNvSpPr>
          <p:nvPr>
            <p:ph type="body" sz="quarter" idx="14"/>
          </p:nvPr>
        </p:nvSpPr>
        <p:spPr>
          <a:xfrm>
            <a:off x="7952365" y="4146328"/>
            <a:ext cx="2196315" cy="1318232"/>
          </a:xfrm>
        </p:spPr>
        <p:txBody>
          <a:bodyPr>
            <a:normAutofit/>
          </a:bodyPr>
          <a:lstStyle/>
          <a:p>
            <a:r>
              <a:rPr lang="en-US" sz="1800"/>
              <a:t>Improve productivity for Data scientists</a:t>
            </a:r>
          </a:p>
        </p:txBody>
      </p:sp>
      <p:sp>
        <p:nvSpPr>
          <p:cNvPr id="15" name="Rectangle 14" title="Icon Background">
            <a:extLst>
              <a:ext uri="{FF2B5EF4-FFF2-40B4-BE49-F238E27FC236}">
                <a16:creationId xmlns:a16="http://schemas.microsoft.com/office/drawing/2014/main" id="{056960D0-0A22-4E28-82F3-B9AA805E96A4}"/>
              </a:ext>
            </a:extLst>
          </p:cNvPr>
          <p:cNvSpPr/>
          <p:nvPr/>
        </p:nvSpPr>
        <p:spPr>
          <a:xfrm>
            <a:off x="6470578" y="1989157"/>
            <a:ext cx="1114422" cy="11144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9" name="Graphic 28" descr="Pencil" title="Placeholder Icon">
            <a:extLst>
              <a:ext uri="{FF2B5EF4-FFF2-40B4-BE49-F238E27FC236}">
                <a16:creationId xmlns:a16="http://schemas.microsoft.com/office/drawing/2014/main" id="{87645AAE-99D6-4DF7-BBA8-ACD6942E164D}"/>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769712" y="2288291"/>
            <a:ext cx="516155" cy="516155"/>
          </a:xfrm>
          <a:prstGeom prst="rect">
            <a:avLst/>
          </a:prstGeom>
        </p:spPr>
      </p:pic>
      <p:sp>
        <p:nvSpPr>
          <p:cNvPr id="8" name="Text Placeholder 7">
            <a:extLst>
              <a:ext uri="{FF2B5EF4-FFF2-40B4-BE49-F238E27FC236}">
                <a16:creationId xmlns:a16="http://schemas.microsoft.com/office/drawing/2014/main" id="{FA562AA1-9ED1-4AA1-8F21-A53B5A69CB06}"/>
              </a:ext>
            </a:extLst>
          </p:cNvPr>
          <p:cNvSpPr>
            <a:spLocks noGrp="1"/>
          </p:cNvSpPr>
          <p:nvPr>
            <p:ph type="body" sz="quarter" idx="15"/>
          </p:nvPr>
        </p:nvSpPr>
        <p:spPr>
          <a:xfrm>
            <a:off x="5857619" y="3465432"/>
            <a:ext cx="2407660" cy="649150"/>
          </a:xfrm>
        </p:spPr>
        <p:txBody>
          <a:bodyPr>
            <a:normAutofit/>
          </a:bodyPr>
          <a:lstStyle/>
          <a:p>
            <a:r>
              <a:rPr lang="en-US" sz="2400"/>
              <a:t>Democratize AI</a:t>
            </a:r>
            <a:r>
              <a:rPr lang="en-US" sz="2800"/>
              <a:t> </a:t>
            </a:r>
            <a:endParaRPr lang="en-ZA" sz="2800"/>
          </a:p>
        </p:txBody>
      </p:sp>
      <p:sp>
        <p:nvSpPr>
          <p:cNvPr id="9" name="Text Placeholder 8">
            <a:extLst>
              <a:ext uri="{FF2B5EF4-FFF2-40B4-BE49-F238E27FC236}">
                <a16:creationId xmlns:a16="http://schemas.microsoft.com/office/drawing/2014/main" id="{29E0145E-8E4E-439B-A78F-92EC279B320C}"/>
              </a:ext>
            </a:extLst>
          </p:cNvPr>
          <p:cNvSpPr>
            <a:spLocks noGrp="1"/>
          </p:cNvSpPr>
          <p:nvPr>
            <p:ph type="body" sz="quarter" idx="16"/>
          </p:nvPr>
        </p:nvSpPr>
        <p:spPr>
          <a:xfrm>
            <a:off x="5912895" y="4172930"/>
            <a:ext cx="2159113" cy="1318233"/>
          </a:xfrm>
        </p:spPr>
        <p:txBody>
          <a:bodyPr>
            <a:normAutofit lnSpcReduction="10000"/>
          </a:bodyPr>
          <a:lstStyle/>
          <a:p>
            <a:r>
              <a:rPr lang="en-US" sz="1800"/>
              <a:t>Enable Domain Experts &amp; Developers to get rapidly build AI solutions</a:t>
            </a:r>
          </a:p>
        </p:txBody>
      </p:sp>
      <p:pic>
        <p:nvPicPr>
          <p:cNvPr id="30" name="Graphic 29" descr="Send">
            <a:extLst>
              <a:ext uri="{FF2B5EF4-FFF2-40B4-BE49-F238E27FC236}">
                <a16:creationId xmlns:a16="http://schemas.microsoft.com/office/drawing/2014/main" id="{C1199C11-3787-4FE7-A587-DFBF69327CD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603210" y="2140492"/>
            <a:ext cx="733525" cy="733525"/>
          </a:xfrm>
          <a:prstGeom prst="rect">
            <a:avLst/>
          </a:prstGeom>
        </p:spPr>
      </p:pic>
      <p:pic>
        <p:nvPicPr>
          <p:cNvPr id="7174" name="Picture 6" descr="Image result for microsoft AI">
            <a:extLst>
              <a:ext uri="{FF2B5EF4-FFF2-40B4-BE49-F238E27FC236}">
                <a16:creationId xmlns:a16="http://schemas.microsoft.com/office/drawing/2014/main" id="{857F04BB-0CE0-4620-B44A-5EFB9CD7BAF7}"/>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12783" b="17161"/>
          <a:stretch/>
        </p:blipFill>
        <p:spPr bwMode="auto">
          <a:xfrm>
            <a:off x="419830" y="1029904"/>
            <a:ext cx="5496341" cy="2399096"/>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0CB6BD2F-3B42-4757-B514-AE585B5629EF}"/>
              </a:ext>
            </a:extLst>
          </p:cNvPr>
          <p:cNvSpPr/>
          <p:nvPr/>
        </p:nvSpPr>
        <p:spPr>
          <a:xfrm>
            <a:off x="458541" y="5491163"/>
            <a:ext cx="5399078" cy="923330"/>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mn-cs"/>
              </a:rPr>
              <a:t>Enable automated building of machine learning with the goal of accelerating, democratizing and scaling AI</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7" name="Rectangle 16" title="Icon Background">
            <a:extLst>
              <a:ext uri="{FF2B5EF4-FFF2-40B4-BE49-F238E27FC236}">
                <a16:creationId xmlns:a16="http://schemas.microsoft.com/office/drawing/2014/main" id="{6BF72CD9-6834-47C8-9801-411A05EA8A56}"/>
              </a:ext>
            </a:extLst>
          </p:cNvPr>
          <p:cNvSpPr/>
          <p:nvPr/>
        </p:nvSpPr>
        <p:spPr>
          <a:xfrm>
            <a:off x="10365048" y="1987511"/>
            <a:ext cx="1114422" cy="11144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Text Placeholder 7">
            <a:extLst>
              <a:ext uri="{FF2B5EF4-FFF2-40B4-BE49-F238E27FC236}">
                <a16:creationId xmlns:a16="http://schemas.microsoft.com/office/drawing/2014/main" id="{6E7ABAC2-FFFE-4EF2-B734-4BBD00E8E6E3}"/>
              </a:ext>
            </a:extLst>
          </p:cNvPr>
          <p:cNvSpPr txBox="1">
            <a:spLocks/>
          </p:cNvSpPr>
          <p:nvPr/>
        </p:nvSpPr>
        <p:spPr>
          <a:xfrm>
            <a:off x="9718429" y="3493254"/>
            <a:ext cx="2407660" cy="649150"/>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1800" kern="1200">
                <a:solidFill>
                  <a:schemeClr val="tx1">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0" noProof="0">
                <a:ln>
                  <a:noFill/>
                </a:ln>
                <a:solidFill>
                  <a:prstClr val="black">
                    <a:lumMod val="75000"/>
                    <a:lumOff val="25000"/>
                  </a:prstClr>
                </a:solidFill>
                <a:effectLst/>
                <a:uLnTx/>
                <a:uFillTx/>
                <a:latin typeface="Calibri" panose="020F0502020204030204"/>
                <a:ea typeface="+mn-ea"/>
                <a:cs typeface="+mn-cs"/>
              </a:rPr>
              <a:t>Scale AI</a:t>
            </a:r>
            <a:endParaRPr kumimoji="0" lang="en-ZA" sz="2800" b="0" i="0" u="none" strike="noStrike" kern="1200" cap="none" spc="0" normalizeH="0" baseline="0" noProof="0">
              <a:ln>
                <a:noFill/>
              </a:ln>
              <a:solidFill>
                <a:prstClr val="black">
                  <a:lumMod val="75000"/>
                  <a:lumOff val="25000"/>
                </a:prstClr>
              </a:solidFill>
              <a:effectLst/>
              <a:uLnTx/>
              <a:uFillTx/>
              <a:latin typeface="Calibri" panose="020F0502020204030204"/>
              <a:ea typeface="+mn-ea"/>
              <a:cs typeface="+mn-cs"/>
            </a:endParaRPr>
          </a:p>
        </p:txBody>
      </p:sp>
      <p:sp>
        <p:nvSpPr>
          <p:cNvPr id="23" name="Text Placeholder 8">
            <a:extLst>
              <a:ext uri="{FF2B5EF4-FFF2-40B4-BE49-F238E27FC236}">
                <a16:creationId xmlns:a16="http://schemas.microsoft.com/office/drawing/2014/main" id="{2712557E-5EC9-42ED-9E01-97950A30D64B}"/>
              </a:ext>
            </a:extLst>
          </p:cNvPr>
          <p:cNvSpPr txBox="1">
            <a:spLocks/>
          </p:cNvSpPr>
          <p:nvPr/>
        </p:nvSpPr>
        <p:spPr>
          <a:xfrm>
            <a:off x="9978562" y="4135221"/>
            <a:ext cx="2209588" cy="1318233"/>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1400" kern="1200">
                <a:solidFill>
                  <a:schemeClr val="tx1">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0" i="0" u="none" strike="noStrike" kern="1200" cap="none" spc="0" normalizeH="0" baseline="0" noProof="0">
                <a:ln>
                  <a:noFill/>
                </a:ln>
                <a:solidFill>
                  <a:prstClr val="black">
                    <a:lumMod val="75000"/>
                    <a:lumOff val="25000"/>
                  </a:prstClr>
                </a:solidFill>
                <a:effectLst/>
                <a:uLnTx/>
                <a:uFillTx/>
                <a:latin typeface="Calibri" panose="020F0502020204030204"/>
                <a:ea typeface="+mn-ea"/>
                <a:cs typeface="+mn-cs"/>
              </a:rPr>
              <a:t>Build AI solutions at scale in an automated fashion</a:t>
            </a:r>
          </a:p>
        </p:txBody>
      </p:sp>
      <p:cxnSp>
        <p:nvCxnSpPr>
          <p:cNvPr id="24" name="Straight Connector 23" title="Divider Line">
            <a:extLst>
              <a:ext uri="{FF2B5EF4-FFF2-40B4-BE49-F238E27FC236}">
                <a16:creationId xmlns:a16="http://schemas.microsoft.com/office/drawing/2014/main" id="{F7A6539C-9DB7-4CD9-9131-75CAC97D41B7}"/>
              </a:ext>
            </a:extLst>
          </p:cNvPr>
          <p:cNvCxnSpPr>
            <a:cxnSpLocks/>
          </p:cNvCxnSpPr>
          <p:nvPr/>
        </p:nvCxnSpPr>
        <p:spPr>
          <a:xfrm>
            <a:off x="6247352" y="4040289"/>
            <a:ext cx="15480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title="Divider Line">
            <a:extLst>
              <a:ext uri="{FF2B5EF4-FFF2-40B4-BE49-F238E27FC236}">
                <a16:creationId xmlns:a16="http://schemas.microsoft.com/office/drawing/2014/main" id="{608244CF-703A-4342-91D1-FBED802184D2}"/>
              </a:ext>
            </a:extLst>
          </p:cNvPr>
          <p:cNvCxnSpPr>
            <a:cxnSpLocks/>
          </p:cNvCxnSpPr>
          <p:nvPr/>
        </p:nvCxnSpPr>
        <p:spPr>
          <a:xfrm>
            <a:off x="10183279" y="4040289"/>
            <a:ext cx="15480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EFCE5CA7-8F80-4901-A924-1F402E1AF2E4}"/>
              </a:ext>
            </a:extLst>
          </p:cNvPr>
          <p:cNvPicPr>
            <a:picLocks noChangeAspect="1"/>
          </p:cNvPicPr>
          <p:nvPr/>
        </p:nvPicPr>
        <p:blipFill>
          <a:blip r:embed="rId8"/>
          <a:stretch>
            <a:fillRect/>
          </a:stretch>
        </p:blipFill>
        <p:spPr>
          <a:xfrm>
            <a:off x="10426959" y="2147100"/>
            <a:ext cx="495300" cy="428625"/>
          </a:xfrm>
          <a:prstGeom prst="rect">
            <a:avLst/>
          </a:prstGeom>
        </p:spPr>
      </p:pic>
      <p:pic>
        <p:nvPicPr>
          <p:cNvPr id="13" name="Picture 12">
            <a:extLst>
              <a:ext uri="{FF2B5EF4-FFF2-40B4-BE49-F238E27FC236}">
                <a16:creationId xmlns:a16="http://schemas.microsoft.com/office/drawing/2014/main" id="{C3FA49C2-C074-4CCF-9B39-D78F3BC9428F}"/>
              </a:ext>
            </a:extLst>
          </p:cNvPr>
          <p:cNvPicPr>
            <a:picLocks noChangeAspect="1"/>
          </p:cNvPicPr>
          <p:nvPr/>
        </p:nvPicPr>
        <p:blipFill>
          <a:blip r:embed="rId8"/>
          <a:stretch>
            <a:fillRect/>
          </a:stretch>
        </p:blipFill>
        <p:spPr>
          <a:xfrm>
            <a:off x="10674609" y="2632444"/>
            <a:ext cx="495300" cy="428625"/>
          </a:xfrm>
          <a:prstGeom prst="rect">
            <a:avLst/>
          </a:prstGeom>
        </p:spPr>
      </p:pic>
      <p:pic>
        <p:nvPicPr>
          <p:cNvPr id="14" name="Picture 13">
            <a:extLst>
              <a:ext uri="{FF2B5EF4-FFF2-40B4-BE49-F238E27FC236}">
                <a16:creationId xmlns:a16="http://schemas.microsoft.com/office/drawing/2014/main" id="{A32A766B-F5AC-4F97-BC4D-B7334443484B}"/>
              </a:ext>
            </a:extLst>
          </p:cNvPr>
          <p:cNvPicPr>
            <a:picLocks noChangeAspect="1"/>
          </p:cNvPicPr>
          <p:nvPr/>
        </p:nvPicPr>
        <p:blipFill>
          <a:blip r:embed="rId8"/>
          <a:stretch>
            <a:fillRect/>
          </a:stretch>
        </p:blipFill>
        <p:spPr>
          <a:xfrm>
            <a:off x="10922259" y="2169624"/>
            <a:ext cx="495300" cy="428625"/>
          </a:xfrm>
          <a:prstGeom prst="rect">
            <a:avLst/>
          </a:prstGeom>
        </p:spPr>
      </p:pic>
    </p:spTree>
    <p:extLst>
      <p:ext uri="{BB962C8B-B14F-4D97-AF65-F5344CB8AC3E}">
        <p14:creationId xmlns:p14="http://schemas.microsoft.com/office/powerpoint/2010/main" val="32065775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1569720" y="2486811"/>
            <a:ext cx="9075420" cy="2899983"/>
            <a:chOff x="1569720" y="2132571"/>
            <a:chExt cx="9075420" cy="2899983"/>
          </a:xfrm>
        </p:grpSpPr>
        <p:sp>
          <p:nvSpPr>
            <p:cNvPr id="12" name="Rounded Rectangle 11"/>
            <p:cNvSpPr/>
            <p:nvPr/>
          </p:nvSpPr>
          <p:spPr>
            <a:xfrm>
              <a:off x="1569720" y="2132571"/>
              <a:ext cx="9075420" cy="2899983"/>
            </a:xfrm>
            <a:prstGeom prst="roundRect">
              <a:avLst>
                <a:gd name="adj" fmla="val 1231"/>
              </a:avLst>
            </a:prstGeom>
            <a:solidFill>
              <a:schemeClr val="bg1"/>
            </a:solidFill>
            <a:ln>
              <a:noFill/>
            </a:ln>
            <a:effectLst>
              <a:outerShdw blurRad="38100" dist="127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p:cNvSpPr txBox="1">
              <a:spLocks/>
            </p:cNvSpPr>
            <p:nvPr/>
          </p:nvSpPr>
          <p:spPr>
            <a:xfrm>
              <a:off x="4937760" y="2781045"/>
              <a:ext cx="5341620" cy="1894724"/>
            </a:xfrm>
            <a:prstGeom prst="rect">
              <a:avLst/>
            </a:prstGeom>
          </p:spPr>
          <p:txBody>
            <a:bodyPr>
              <a:noAutofit/>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140000"/>
                </a:lnSpc>
                <a:spcBef>
                  <a:spcPts val="1200"/>
                </a:spcBef>
                <a:buClr>
                  <a:schemeClr val="accent2"/>
                </a:buClr>
                <a:buSzPct val="150000"/>
              </a:pPr>
              <a:r>
                <a:rPr lang="en-US" sz="1600" b="0" dirty="0">
                  <a:solidFill>
                    <a:schemeClr val="tx1">
                      <a:alpha val="70000"/>
                    </a:schemeClr>
                  </a:solidFill>
                  <a:latin typeface="Roboto Light" charset="0"/>
                  <a:ea typeface="Roboto Light" charset="0"/>
                  <a:cs typeface="Roboto Light" charset="0"/>
                </a:rPr>
                <a:t>Automated machine learning (automated ML) picks an algorithm and hyperparameters for you and generates a model ready for deployment. The model can be downloaded to be further customized as well. </a:t>
              </a:r>
            </a:p>
          </p:txBody>
        </p:sp>
      </p:grpSp>
      <p:cxnSp>
        <p:nvCxnSpPr>
          <p:cNvPr id="5" name="Straight Connector 4"/>
          <p:cNvCxnSpPr/>
          <p:nvPr/>
        </p:nvCxnSpPr>
        <p:spPr>
          <a:xfrm>
            <a:off x="3024356" y="2486811"/>
            <a:ext cx="0" cy="1061507"/>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Title 1"/>
          <p:cNvSpPr txBox="1">
            <a:spLocks/>
          </p:cNvSpPr>
          <p:nvPr/>
        </p:nvSpPr>
        <p:spPr>
          <a:xfrm>
            <a:off x="3829229" y="541778"/>
            <a:ext cx="4533542" cy="705124"/>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a:t>What is automated machine learning?</a:t>
            </a:r>
          </a:p>
        </p:txBody>
      </p:sp>
    </p:spTree>
    <p:extLst>
      <p:ext uri="{BB962C8B-B14F-4D97-AF65-F5344CB8AC3E}">
        <p14:creationId xmlns:p14="http://schemas.microsoft.com/office/powerpoint/2010/main" val="2397697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50000" fill="hold" nodeType="with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additive="base">
                                        <p:cTn id="7" dur="1500" fill="hold"/>
                                        <p:tgtEl>
                                          <p:spTgt spid="17"/>
                                        </p:tgtEl>
                                        <p:attrNameLst>
                                          <p:attrName>ppt_x</p:attrName>
                                        </p:attrNameLst>
                                      </p:cBhvr>
                                      <p:tavLst>
                                        <p:tav tm="0">
                                          <p:val>
                                            <p:strVal val="#ppt_x"/>
                                          </p:val>
                                        </p:tav>
                                        <p:tav tm="100000">
                                          <p:val>
                                            <p:strVal val="#ppt_x"/>
                                          </p:val>
                                        </p:tav>
                                      </p:tavLst>
                                    </p:anim>
                                    <p:anim calcmode="lin" valueType="num">
                                      <p:cBhvr additive="base">
                                        <p:cTn id="8" dur="1500" fill="hold"/>
                                        <p:tgtEl>
                                          <p:spTgt spid="17"/>
                                        </p:tgtEl>
                                        <p:attrNameLst>
                                          <p:attrName>ppt_y</p:attrName>
                                        </p:attrNameLst>
                                      </p:cBhvr>
                                      <p:tavLst>
                                        <p:tav tm="0">
                                          <p:val>
                                            <p:strVal val="1+#ppt_h/2"/>
                                          </p:val>
                                        </p:tav>
                                        <p:tav tm="100000">
                                          <p:val>
                                            <p:strVal val="#ppt_y"/>
                                          </p:val>
                                        </p:tav>
                                      </p:tavLst>
                                    </p:anim>
                                  </p:childTnLst>
                                </p:cTn>
                              </p:par>
                              <p:par>
                                <p:cTn id="9" presetID="22" presetClass="entr" presetSubtype="1" fill="hold" nodeType="withEffect">
                                  <p:stCondLst>
                                    <p:cond delay="2000"/>
                                  </p:stCondLst>
                                  <p:childTnLst>
                                    <p:set>
                                      <p:cBhvr>
                                        <p:cTn id="10" dur="1" fill="hold">
                                          <p:stCondLst>
                                            <p:cond delay="0"/>
                                          </p:stCondLst>
                                        </p:cTn>
                                        <p:tgtEl>
                                          <p:spTgt spid="5"/>
                                        </p:tgtEl>
                                        <p:attrNameLst>
                                          <p:attrName>style.visibility</p:attrName>
                                        </p:attrNameLst>
                                      </p:cBhvr>
                                      <p:to>
                                        <p:strVal val="visible"/>
                                      </p:to>
                                    </p:set>
                                    <p:animEffect transition="in" filter="wipe(up)">
                                      <p:cBhvr>
                                        <p:cTn id="11"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79B3A2-E18C-433D-ACFB-88639790DA22}"/>
              </a:ext>
            </a:extLst>
          </p:cNvPr>
          <p:cNvSpPr>
            <a:spLocks noGrp="1"/>
          </p:cNvSpPr>
          <p:nvPr>
            <p:ph type="title"/>
          </p:nvPr>
        </p:nvSpPr>
        <p:spPr>
          <a:xfrm>
            <a:off x="838200" y="365125"/>
            <a:ext cx="10515600" cy="1325563"/>
          </a:xfrm>
        </p:spPr>
        <p:txBody>
          <a:bodyPr vert="horz" lIns="91440" tIns="45720" rIns="91440" bIns="45720" rtlCol="0" anchor="ctr">
            <a:normAutofit fontScale="90000"/>
          </a:bodyPr>
          <a:lstStyle/>
          <a:p>
            <a:pPr lvl="0">
              <a:lnSpc>
                <a:spcPct val="100000"/>
              </a:lnSpc>
              <a:spcBef>
                <a:spcPts val="0"/>
              </a:spcBef>
            </a:pPr>
            <a:r>
              <a:rPr lang="en-US" sz="4900">
                <a:solidFill>
                  <a:prstClr val="black"/>
                </a:solidFill>
                <a:latin typeface="Segoe UI Light" panose="020B0502040204020203" pitchFamily="34" charset="0"/>
                <a:ea typeface="+mn-ea"/>
                <a:cs typeface="Segoe UI Light" panose="020B0502040204020203" pitchFamily="34" charset="0"/>
              </a:rPr>
              <a:t>Automated ML Capabilities</a:t>
            </a:r>
            <a:br>
              <a:rPr lang="en-US" sz="4400">
                <a:solidFill>
                  <a:prstClr val="black"/>
                </a:solidFill>
                <a:latin typeface="Segoe UI Light" panose="020B0502040204020203" pitchFamily="34" charset="0"/>
                <a:ea typeface="+mn-ea"/>
                <a:cs typeface="Segoe UI Light" panose="020B0502040204020203" pitchFamily="34" charset="0"/>
              </a:rPr>
            </a:br>
            <a:endParaRPr lang="en-US" sz="4400"/>
          </a:p>
        </p:txBody>
      </p:sp>
      <p:sp>
        <p:nvSpPr>
          <p:cNvPr id="4" name="Text Placeholder 3">
            <a:extLst>
              <a:ext uri="{FF2B5EF4-FFF2-40B4-BE49-F238E27FC236}">
                <a16:creationId xmlns:a16="http://schemas.microsoft.com/office/drawing/2014/main" id="{6364D22D-A0C3-4545-AFE1-FBD20C6FFBBC}"/>
              </a:ext>
            </a:extLst>
          </p:cNvPr>
          <p:cNvSpPr>
            <a:spLocks noGrp="1"/>
          </p:cNvSpPr>
          <p:nvPr>
            <p:ph type="body" sz="half" idx="2"/>
          </p:nvPr>
        </p:nvSpPr>
        <p:spPr>
          <a:xfrm>
            <a:off x="838200" y="2102185"/>
            <a:ext cx="3797807" cy="4351338"/>
          </a:xfrm>
        </p:spPr>
        <p:txBody>
          <a:bodyPr vert="horz" lIns="91440" tIns="45720" rIns="91440" bIns="45720" rtlCol="0">
            <a:normAutofit/>
          </a:bodyPr>
          <a:lstStyle/>
          <a:p>
            <a:pPr marL="342900" indent="-342900">
              <a:buFont typeface="Arial" panose="020B0604020202020204" pitchFamily="34" charset="0"/>
              <a:buChar char="•"/>
            </a:pPr>
            <a:r>
              <a:rPr lang="en-US" sz="2000">
                <a:latin typeface="Segoe UI Light" panose="020B0502040204020203" pitchFamily="34" charset="0"/>
                <a:cs typeface="Segoe UI Light" panose="020B0502040204020203" pitchFamily="34" charset="0"/>
              </a:rPr>
              <a:t>Based on Microsoft Research</a:t>
            </a:r>
          </a:p>
          <a:p>
            <a:pPr marL="342900" indent="-342900">
              <a:buFont typeface="Arial" panose="020B0604020202020204" pitchFamily="34" charset="0"/>
              <a:buChar char="•"/>
            </a:pPr>
            <a:endParaRPr lang="en-US" sz="2000">
              <a:latin typeface="Segoe UI Light" panose="020B0502040204020203" pitchFamily="34" charset="0"/>
              <a:cs typeface="Segoe UI Light" panose="020B0502040204020203" pitchFamily="34" charset="0"/>
            </a:endParaRPr>
          </a:p>
          <a:p>
            <a:pPr marL="342900" indent="-342900">
              <a:buFont typeface="Arial" panose="020B0604020202020204" pitchFamily="34" charset="0"/>
              <a:buChar char="•"/>
            </a:pPr>
            <a:r>
              <a:rPr lang="en-US" sz="2000">
                <a:latin typeface="Segoe UI Light" panose="020B0502040204020203" pitchFamily="34" charset="0"/>
                <a:cs typeface="Segoe UI Light" panose="020B0502040204020203" pitchFamily="34" charset="0"/>
              </a:rPr>
              <a:t>Brain trained with several million experiments</a:t>
            </a:r>
          </a:p>
          <a:p>
            <a:pPr marL="342900" indent="-342900">
              <a:buFont typeface="Arial" panose="020B0604020202020204" pitchFamily="34" charset="0"/>
              <a:buChar char="•"/>
            </a:pPr>
            <a:endParaRPr lang="en-US" sz="2000">
              <a:latin typeface="Segoe UI Light" panose="020B0502040204020203" pitchFamily="34" charset="0"/>
              <a:cs typeface="Segoe UI Light" panose="020B0502040204020203" pitchFamily="34" charset="0"/>
            </a:endParaRPr>
          </a:p>
          <a:p>
            <a:pPr marL="342900" indent="-342900">
              <a:buFont typeface="Arial" panose="020B0604020202020204" pitchFamily="34" charset="0"/>
              <a:buChar char="•"/>
            </a:pPr>
            <a:r>
              <a:rPr lang="en-US" sz="2000">
                <a:latin typeface="Segoe UI Light" panose="020B0502040204020203" pitchFamily="34" charset="0"/>
                <a:cs typeface="Segoe UI Light" panose="020B0502040204020203" pitchFamily="34" charset="0"/>
              </a:rPr>
              <a:t>Collaborative filtering and Bayesian optimization</a:t>
            </a:r>
          </a:p>
          <a:p>
            <a:pPr marL="342900" indent="-342900">
              <a:buFont typeface="Arial" panose="020B0604020202020204" pitchFamily="34" charset="0"/>
              <a:buChar char="•"/>
            </a:pPr>
            <a:endParaRPr lang="en-US" sz="2000">
              <a:latin typeface="Segoe UI Light" panose="020B0502040204020203" pitchFamily="34" charset="0"/>
              <a:cs typeface="Segoe UI Light" panose="020B0502040204020203" pitchFamily="34" charset="0"/>
            </a:endParaRPr>
          </a:p>
          <a:p>
            <a:pPr marL="342900" indent="-342900">
              <a:buFont typeface="Arial" panose="020B0604020202020204" pitchFamily="34" charset="0"/>
              <a:buChar char="•"/>
            </a:pPr>
            <a:r>
              <a:rPr lang="en-US" sz="2000">
                <a:latin typeface="Segoe UI Light" panose="020B0502040204020203" pitchFamily="34" charset="0"/>
                <a:cs typeface="Segoe UI Light" panose="020B0502040204020203" pitchFamily="34" charset="0"/>
              </a:rPr>
              <a:t>Privacy preserving: No need to “see” the data</a:t>
            </a:r>
          </a:p>
        </p:txBody>
      </p:sp>
      <p:pic>
        <p:nvPicPr>
          <p:cNvPr id="6" name="Picture 5" descr="A picture containing screenshot&#10;&#10;Description generated with very high confidence">
            <a:extLst>
              <a:ext uri="{FF2B5EF4-FFF2-40B4-BE49-F238E27FC236}">
                <a16:creationId xmlns:a16="http://schemas.microsoft.com/office/drawing/2014/main" id="{05CDA4D0-60DF-42B9-ADBB-905718665449}"/>
              </a:ext>
            </a:extLst>
          </p:cNvPr>
          <p:cNvPicPr>
            <a:picLocks noChangeAspect="1"/>
          </p:cNvPicPr>
          <p:nvPr/>
        </p:nvPicPr>
        <p:blipFill>
          <a:blip r:embed="rId2">
            <a:extLst>
              <a:ext uri="{BEBA8EAE-BF5A-486C-A8C5-ECC9F3942E4B}">
                <a14:imgProps xmlns:a14="http://schemas.microsoft.com/office/drawing/2010/main">
                  <a14:imgLayer r:embed="rId3">
                    <a14:imgEffect>
                      <a14:colorTemperature colorTemp="5300"/>
                    </a14:imgEffect>
                    <a14:imgEffect>
                      <a14:saturation sat="200000"/>
                    </a14:imgEffect>
                  </a14:imgLayer>
                </a14:imgProps>
              </a:ext>
            </a:extLst>
          </a:blip>
          <a:stretch>
            <a:fillRect/>
          </a:stretch>
        </p:blipFill>
        <p:spPr>
          <a:xfrm>
            <a:off x="5024451" y="2068933"/>
            <a:ext cx="6329349" cy="3798217"/>
          </a:xfrm>
          <a:prstGeom prst="rect">
            <a:avLst/>
          </a:prstGeom>
        </p:spPr>
      </p:pic>
    </p:spTree>
    <p:extLst>
      <p:ext uri="{BB962C8B-B14F-4D97-AF65-F5344CB8AC3E}">
        <p14:creationId xmlns:p14="http://schemas.microsoft.com/office/powerpoint/2010/main" val="200106456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D241B022-A3B7-4985-87CE-A55E0767F348}"/>
              </a:ext>
            </a:extLst>
          </p:cNvPr>
          <p:cNvSpPr txBox="1"/>
          <p:nvPr/>
        </p:nvSpPr>
        <p:spPr>
          <a:xfrm>
            <a:off x="1005401" y="2304436"/>
            <a:ext cx="2002124" cy="2617320"/>
          </a:xfrm>
          <a:prstGeom prst="rect">
            <a:avLst/>
          </a:prstGeom>
          <a:noFill/>
        </p:spPr>
        <p:txBody>
          <a:bodyPr wrap="square" rtlCol="0">
            <a:spAutoFit/>
          </a:bodyPr>
          <a:lstStyle/>
          <a:p>
            <a:pPr marL="0" marR="0" lvl="0" indent="0" algn="l" defTabSz="914400" rtl="0" eaLnBrk="1" fontAlgn="auto" latinLnBrk="0" hangingPunct="1">
              <a:lnSpc>
                <a:spcPct val="2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Calibri" panose="020F0502020204030204"/>
                <a:ea typeface="+mn-ea"/>
                <a:cs typeface="Segoe UI Semibold" panose="020B0702040204020203" pitchFamily="34" charset="0"/>
              </a:rPr>
              <a:t>SQL DB</a:t>
            </a:r>
          </a:p>
          <a:p>
            <a:pPr marL="0" marR="0" lvl="0" indent="0" algn="l" defTabSz="914400" rtl="0" eaLnBrk="1" fontAlgn="auto" latinLnBrk="0" hangingPunct="1">
              <a:lnSpc>
                <a:spcPct val="2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Calibri" panose="020F0502020204030204"/>
                <a:ea typeface="+mn-ea"/>
                <a:cs typeface="Segoe UI Semibold" panose="020B0702040204020203" pitchFamily="34" charset="0"/>
              </a:rPr>
              <a:t>Cosmos DB</a:t>
            </a:r>
          </a:p>
          <a:p>
            <a:pPr marL="0" marR="0" lvl="0" indent="0" algn="l" defTabSz="914400" rtl="0" eaLnBrk="1" fontAlgn="auto" latinLnBrk="0" hangingPunct="1">
              <a:lnSpc>
                <a:spcPct val="2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Calibri" panose="020F0502020204030204"/>
                <a:ea typeface="+mn-ea"/>
                <a:cs typeface="Segoe UI Semibold" panose="020B0702040204020203" pitchFamily="34" charset="0"/>
              </a:rPr>
              <a:t>Datawarehouse</a:t>
            </a:r>
          </a:p>
          <a:p>
            <a:pPr marL="0" marR="0" lvl="0" indent="0" algn="l" defTabSz="914400" rtl="0" eaLnBrk="1" fontAlgn="auto" latinLnBrk="0" hangingPunct="1">
              <a:lnSpc>
                <a:spcPct val="2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Calibri" panose="020F0502020204030204"/>
                <a:ea typeface="+mn-ea"/>
                <a:cs typeface="Segoe UI Semibold" panose="020B0702040204020203" pitchFamily="34" charset="0"/>
              </a:rPr>
              <a:t>Data lake</a:t>
            </a:r>
          </a:p>
          <a:p>
            <a:pPr marL="0" marR="0" lvl="0" indent="0" algn="l" defTabSz="914400" rtl="0" eaLnBrk="1" fontAlgn="auto" latinLnBrk="0" hangingPunct="1">
              <a:lnSpc>
                <a:spcPct val="2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Calibri" panose="020F0502020204030204"/>
                <a:ea typeface="+mn-ea"/>
                <a:cs typeface="Segoe UI Semibold" panose="020B0702040204020203" pitchFamily="34" charset="0"/>
              </a:rPr>
              <a:t>Blob storage</a:t>
            </a:r>
          </a:p>
          <a:p>
            <a:pPr marL="0" marR="0" lvl="0" indent="0" algn="l" defTabSz="914400" rtl="0" eaLnBrk="1" fontAlgn="auto" latinLnBrk="0" hangingPunct="1">
              <a:lnSpc>
                <a:spcPct val="2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Calibri" panose="020F0502020204030204"/>
                <a:ea typeface="+mn-ea"/>
                <a:cs typeface="Segoe UI Semibold" panose="020B0702040204020203" pitchFamily="34" charset="0"/>
              </a:rPr>
              <a:t>…</a:t>
            </a:r>
          </a:p>
        </p:txBody>
      </p:sp>
      <p:sp>
        <p:nvSpPr>
          <p:cNvPr id="4" name="Right Brace 3">
            <a:extLst>
              <a:ext uri="{FF2B5EF4-FFF2-40B4-BE49-F238E27FC236}">
                <a16:creationId xmlns:a16="http://schemas.microsoft.com/office/drawing/2014/main" id="{DD958F95-EBD7-4850-89B9-5D5BDC24F1E6}"/>
              </a:ext>
            </a:extLst>
          </p:cNvPr>
          <p:cNvSpPr/>
          <p:nvPr/>
        </p:nvSpPr>
        <p:spPr>
          <a:xfrm>
            <a:off x="2110883" y="2498979"/>
            <a:ext cx="637551" cy="2174569"/>
          </a:xfrm>
          <a:prstGeom prst="rightBrace">
            <a:avLst>
              <a:gd name="adj1" fmla="val 54386"/>
              <a:gd name="adj2" fmla="val 50000"/>
            </a:avLst>
          </a:prstGeom>
          <a:ln w="38100">
            <a:solidFill>
              <a:schemeClr val="accent5">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EF4630F9-F5F3-447F-B613-3A60D16A1492}"/>
              </a:ext>
            </a:extLst>
          </p:cNvPr>
          <p:cNvSpPr/>
          <p:nvPr/>
        </p:nvSpPr>
        <p:spPr>
          <a:xfrm>
            <a:off x="3503098" y="4518045"/>
            <a:ext cx="1272913" cy="338554"/>
          </a:xfrm>
          <a:prstGeom prst="rect">
            <a:avLst/>
          </a:prstGeom>
        </p:spPr>
        <p:txBody>
          <a:bodyPr wrap="none">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effectLst/>
                <a:uLnTx/>
                <a:uFillTx/>
                <a:latin typeface="Calibri" panose="020F0502020204030204"/>
                <a:ea typeface="Segoe UI Semilight" charset="0"/>
                <a:cs typeface="Segoe UI Semibold" panose="020B0702040204020203" pitchFamily="34" charset="0"/>
              </a:rPr>
              <a:t>Prepare Data</a:t>
            </a:r>
          </a:p>
        </p:txBody>
      </p:sp>
      <p:sp>
        <p:nvSpPr>
          <p:cNvPr id="6" name="L-Shape 5">
            <a:extLst>
              <a:ext uri="{FF2B5EF4-FFF2-40B4-BE49-F238E27FC236}">
                <a16:creationId xmlns:a16="http://schemas.microsoft.com/office/drawing/2014/main" id="{29FE66B7-AD0B-4567-89F3-A5A4CCEC81E1}"/>
              </a:ext>
            </a:extLst>
          </p:cNvPr>
          <p:cNvSpPr/>
          <p:nvPr/>
        </p:nvSpPr>
        <p:spPr bwMode="auto">
          <a:xfrm rot="13500000">
            <a:off x="5222451" y="3339428"/>
            <a:ext cx="474825" cy="474825"/>
          </a:xfrm>
          <a:prstGeom prst="corner">
            <a:avLst>
              <a:gd name="adj1" fmla="val 10308"/>
              <a:gd name="adj2" fmla="val 9545"/>
            </a:avLst>
          </a:prstGeom>
          <a:solidFill>
            <a:srgbClr val="0070C0">
              <a:alpha val="5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tx1"/>
              </a:solidFill>
              <a:effectLst/>
              <a:uLnTx/>
              <a:uFillTx/>
              <a:latin typeface="Calibri" panose="020F0502020204030204"/>
              <a:ea typeface="+mn-ea"/>
              <a:cs typeface="Segoe UI" pitchFamily="34" charset="0"/>
            </a:endParaRPr>
          </a:p>
        </p:txBody>
      </p:sp>
      <p:sp>
        <p:nvSpPr>
          <p:cNvPr id="7" name="L-Shape 6">
            <a:extLst>
              <a:ext uri="{FF2B5EF4-FFF2-40B4-BE49-F238E27FC236}">
                <a16:creationId xmlns:a16="http://schemas.microsoft.com/office/drawing/2014/main" id="{3C4BCBDA-ECA4-45FD-A4CF-EE636811AAE0}"/>
              </a:ext>
            </a:extLst>
          </p:cNvPr>
          <p:cNvSpPr/>
          <p:nvPr/>
        </p:nvSpPr>
        <p:spPr bwMode="auto">
          <a:xfrm rot="13500000">
            <a:off x="8213592" y="3339429"/>
            <a:ext cx="474825" cy="474825"/>
          </a:xfrm>
          <a:prstGeom prst="corner">
            <a:avLst>
              <a:gd name="adj1" fmla="val 10308"/>
              <a:gd name="adj2" fmla="val 9545"/>
            </a:avLst>
          </a:prstGeom>
          <a:solidFill>
            <a:srgbClr val="0070C0">
              <a:alpha val="5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tx1"/>
              </a:solidFill>
              <a:effectLst/>
              <a:uLnTx/>
              <a:uFillTx/>
              <a:latin typeface="Calibri" panose="020F0502020204030204"/>
              <a:ea typeface="Segoe UI" pitchFamily="34" charset="0"/>
              <a:cs typeface="Segoe UI" pitchFamily="34" charset="0"/>
            </a:endParaRPr>
          </a:p>
        </p:txBody>
      </p:sp>
      <p:sp>
        <p:nvSpPr>
          <p:cNvPr id="8" name="Rectangle 7">
            <a:extLst>
              <a:ext uri="{FF2B5EF4-FFF2-40B4-BE49-F238E27FC236}">
                <a16:creationId xmlns:a16="http://schemas.microsoft.com/office/drawing/2014/main" id="{447A2014-B5DE-400D-A105-98D817CA8493}"/>
              </a:ext>
            </a:extLst>
          </p:cNvPr>
          <p:cNvSpPr/>
          <p:nvPr/>
        </p:nvSpPr>
        <p:spPr>
          <a:xfrm>
            <a:off x="6468799" y="4518045"/>
            <a:ext cx="1243354" cy="338554"/>
          </a:xfrm>
          <a:prstGeom prst="rect">
            <a:avLst/>
          </a:prstGeom>
        </p:spPr>
        <p:txBody>
          <a:bodyPr wrap="none">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effectLst/>
                <a:uLnTx/>
                <a:uFillTx/>
                <a:latin typeface="Calibri" panose="020F0502020204030204"/>
                <a:ea typeface="Segoe UI Semilight" charset="0"/>
                <a:cs typeface="Segoe UI Semibold" panose="020B0702040204020203" pitchFamily="34" charset="0"/>
              </a:rPr>
              <a:t>Build &amp; Train</a:t>
            </a:r>
          </a:p>
        </p:txBody>
      </p:sp>
      <p:sp>
        <p:nvSpPr>
          <p:cNvPr id="9" name="Rectangle 8">
            <a:extLst>
              <a:ext uri="{FF2B5EF4-FFF2-40B4-BE49-F238E27FC236}">
                <a16:creationId xmlns:a16="http://schemas.microsoft.com/office/drawing/2014/main" id="{9476D198-E432-4007-B860-D65B90FD3EC3}"/>
              </a:ext>
            </a:extLst>
          </p:cNvPr>
          <p:cNvSpPr/>
          <p:nvPr/>
        </p:nvSpPr>
        <p:spPr>
          <a:xfrm>
            <a:off x="9753348" y="4518045"/>
            <a:ext cx="768672" cy="338554"/>
          </a:xfrm>
          <a:prstGeom prst="rect">
            <a:avLst/>
          </a:prstGeom>
        </p:spPr>
        <p:txBody>
          <a:bodyPr wrap="none">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effectLst/>
                <a:uLnTx/>
                <a:uFillTx/>
                <a:latin typeface="Calibri" panose="020F0502020204030204"/>
                <a:ea typeface="Segoe UI Semilight" charset="0"/>
                <a:cs typeface="Segoe UI Semibold" panose="020B0702040204020203" pitchFamily="34" charset="0"/>
              </a:rPr>
              <a:t>Deploy</a:t>
            </a:r>
          </a:p>
        </p:txBody>
      </p:sp>
      <p:pic>
        <p:nvPicPr>
          <p:cNvPr id="10" name="Graphic 9">
            <a:extLst>
              <a:ext uri="{FF2B5EF4-FFF2-40B4-BE49-F238E27FC236}">
                <a16:creationId xmlns:a16="http://schemas.microsoft.com/office/drawing/2014/main" id="{CC07FE30-8F04-4929-868C-C79853AA7D9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410070" y="2761104"/>
            <a:ext cx="1455228" cy="1482947"/>
          </a:xfrm>
          <a:prstGeom prst="rect">
            <a:avLst/>
          </a:prstGeom>
        </p:spPr>
      </p:pic>
      <p:pic>
        <p:nvPicPr>
          <p:cNvPr id="11" name="Graphic 10">
            <a:extLst>
              <a:ext uri="{FF2B5EF4-FFF2-40B4-BE49-F238E27FC236}">
                <a16:creationId xmlns:a16="http://schemas.microsoft.com/office/drawing/2014/main" id="{6452337A-C9DD-4B1B-80E2-10F80456045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48553" y="2748819"/>
            <a:ext cx="1788778" cy="1495232"/>
          </a:xfrm>
          <a:prstGeom prst="rect">
            <a:avLst/>
          </a:prstGeom>
        </p:spPr>
      </p:pic>
      <p:grpSp>
        <p:nvGrpSpPr>
          <p:cNvPr id="12" name="Group 11">
            <a:extLst>
              <a:ext uri="{FF2B5EF4-FFF2-40B4-BE49-F238E27FC236}">
                <a16:creationId xmlns:a16="http://schemas.microsoft.com/office/drawing/2014/main" id="{281C292A-7699-4BBD-958F-DABFDCEEC443}"/>
              </a:ext>
            </a:extLst>
          </p:cNvPr>
          <p:cNvGrpSpPr/>
          <p:nvPr/>
        </p:nvGrpSpPr>
        <p:grpSpPr>
          <a:xfrm>
            <a:off x="3469347" y="2761104"/>
            <a:ext cx="1395364" cy="1319280"/>
            <a:chOff x="417356" y="1710268"/>
            <a:chExt cx="1611859" cy="1523971"/>
          </a:xfrm>
        </p:grpSpPr>
        <p:grpSp>
          <p:nvGrpSpPr>
            <p:cNvPr id="13" name="Group 12">
              <a:extLst>
                <a:ext uri="{FF2B5EF4-FFF2-40B4-BE49-F238E27FC236}">
                  <a16:creationId xmlns:a16="http://schemas.microsoft.com/office/drawing/2014/main" id="{AF743F41-B937-496D-8630-34E249AEC10E}"/>
                </a:ext>
              </a:extLst>
            </p:cNvPr>
            <p:cNvGrpSpPr/>
            <p:nvPr/>
          </p:nvGrpSpPr>
          <p:grpSpPr>
            <a:xfrm>
              <a:off x="417356" y="1710268"/>
              <a:ext cx="430961" cy="1413950"/>
              <a:chOff x="1395310" y="3332039"/>
              <a:chExt cx="430961" cy="1413950"/>
            </a:xfrm>
          </p:grpSpPr>
          <p:sp>
            <p:nvSpPr>
              <p:cNvPr id="46" name="Isosceles Triangle 45">
                <a:extLst>
                  <a:ext uri="{FF2B5EF4-FFF2-40B4-BE49-F238E27FC236}">
                    <a16:creationId xmlns:a16="http://schemas.microsoft.com/office/drawing/2014/main" id="{CC7CBE59-8811-4122-8BD2-0EA76D957E79}"/>
                  </a:ext>
                </a:extLst>
              </p:cNvPr>
              <p:cNvSpPr/>
              <p:nvPr/>
            </p:nvSpPr>
            <p:spPr bwMode="auto">
              <a:xfrm>
                <a:off x="1395310" y="3332039"/>
                <a:ext cx="430961" cy="371518"/>
              </a:xfrm>
              <a:prstGeom prst="triangle">
                <a:avLst/>
              </a:prstGeom>
              <a:solidFill>
                <a:schemeClr val="bg1">
                  <a:alpha val="4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tx1"/>
                  </a:solidFill>
                  <a:effectLst/>
                  <a:uLnTx/>
                  <a:uFillTx/>
                  <a:latin typeface="Calibri" panose="020F0502020204030204"/>
                  <a:ea typeface="Segoe UI" pitchFamily="34" charset="0"/>
                  <a:cs typeface="Segoe UI" pitchFamily="34" charset="0"/>
                </a:endParaRPr>
              </a:p>
            </p:txBody>
          </p:sp>
          <p:sp>
            <p:nvSpPr>
              <p:cNvPr id="47" name="Rectangle 46">
                <a:extLst>
                  <a:ext uri="{FF2B5EF4-FFF2-40B4-BE49-F238E27FC236}">
                    <a16:creationId xmlns:a16="http://schemas.microsoft.com/office/drawing/2014/main" id="{63D8AD60-50BA-4BD8-A16B-5A41F4492F5B}"/>
                  </a:ext>
                </a:extLst>
              </p:cNvPr>
              <p:cNvSpPr/>
              <p:nvPr/>
            </p:nvSpPr>
            <p:spPr bwMode="auto">
              <a:xfrm>
                <a:off x="1438477" y="3855311"/>
                <a:ext cx="344626" cy="344626"/>
              </a:xfrm>
              <a:prstGeom prst="rect">
                <a:avLst/>
              </a:prstGeom>
              <a:solidFill>
                <a:schemeClr val="bg1">
                  <a:alpha val="4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tx1"/>
                  </a:solidFill>
                  <a:effectLst/>
                  <a:uLnTx/>
                  <a:uFillTx/>
                  <a:latin typeface="Calibri" panose="020F0502020204030204"/>
                  <a:ea typeface="Segoe UI" pitchFamily="34" charset="0"/>
                  <a:cs typeface="Segoe UI" pitchFamily="34" charset="0"/>
                </a:endParaRPr>
              </a:p>
            </p:txBody>
          </p:sp>
          <p:sp>
            <p:nvSpPr>
              <p:cNvPr id="48" name="Oval 47">
                <a:extLst>
                  <a:ext uri="{FF2B5EF4-FFF2-40B4-BE49-F238E27FC236}">
                    <a16:creationId xmlns:a16="http://schemas.microsoft.com/office/drawing/2014/main" id="{593560BC-8F30-4DA4-ADDA-5525A4F99DDA}"/>
                  </a:ext>
                </a:extLst>
              </p:cNvPr>
              <p:cNvSpPr/>
              <p:nvPr/>
            </p:nvSpPr>
            <p:spPr bwMode="auto">
              <a:xfrm>
                <a:off x="1413641" y="4351691"/>
                <a:ext cx="394299" cy="394298"/>
              </a:xfrm>
              <a:prstGeom prst="ellipse">
                <a:avLst/>
              </a:prstGeom>
              <a:solidFill>
                <a:schemeClr val="bg1">
                  <a:alpha val="4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solidFill>
                      <a:schemeClr val="tx1"/>
                    </a:solidFill>
                    <a:effectLst/>
                    <a:uLnTx/>
                    <a:uFillTx/>
                    <a:latin typeface="Calibri" panose="020F0502020204030204"/>
                    <a:ea typeface="Segoe UI" pitchFamily="34" charset="0"/>
                    <a:cs typeface="Segoe UI" pitchFamily="34" charset="0"/>
                  </a:rPr>
                  <a:t> </a:t>
                </a:r>
              </a:p>
            </p:txBody>
          </p:sp>
        </p:grpSp>
        <p:grpSp>
          <p:nvGrpSpPr>
            <p:cNvPr id="14" name="Group 13">
              <a:extLst>
                <a:ext uri="{FF2B5EF4-FFF2-40B4-BE49-F238E27FC236}">
                  <a16:creationId xmlns:a16="http://schemas.microsoft.com/office/drawing/2014/main" id="{26AFE56D-2F1A-4067-A3C6-6B65D362D96D}"/>
                </a:ext>
              </a:extLst>
            </p:cNvPr>
            <p:cNvGrpSpPr/>
            <p:nvPr/>
          </p:nvGrpSpPr>
          <p:grpSpPr>
            <a:xfrm>
              <a:off x="940569" y="1710268"/>
              <a:ext cx="430961" cy="1413950"/>
              <a:chOff x="1395310" y="3332039"/>
              <a:chExt cx="430961" cy="1413950"/>
            </a:xfrm>
            <a:solidFill>
              <a:srgbClr val="F15B2A"/>
            </a:solidFill>
          </p:grpSpPr>
          <p:sp>
            <p:nvSpPr>
              <p:cNvPr id="43" name="Isosceles Triangle 42">
                <a:extLst>
                  <a:ext uri="{FF2B5EF4-FFF2-40B4-BE49-F238E27FC236}">
                    <a16:creationId xmlns:a16="http://schemas.microsoft.com/office/drawing/2014/main" id="{14CA06A4-44EE-45F1-9023-30F7B7A0EF2E}"/>
                  </a:ext>
                </a:extLst>
              </p:cNvPr>
              <p:cNvSpPr/>
              <p:nvPr/>
            </p:nvSpPr>
            <p:spPr bwMode="auto">
              <a:xfrm>
                <a:off x="1395310" y="3332039"/>
                <a:ext cx="430961" cy="371518"/>
              </a:xfrm>
              <a:prstGeom prst="triangle">
                <a:avLst/>
              </a:prstGeom>
              <a:solidFill>
                <a:srgbClr val="F15B2A">
                  <a:alpha val="4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tx1"/>
                  </a:solidFill>
                  <a:effectLst/>
                  <a:uLnTx/>
                  <a:uFillTx/>
                  <a:latin typeface="Calibri" panose="020F0502020204030204"/>
                  <a:ea typeface="Segoe UI" pitchFamily="34" charset="0"/>
                  <a:cs typeface="Segoe UI" pitchFamily="34" charset="0"/>
                </a:endParaRPr>
              </a:p>
            </p:txBody>
          </p:sp>
          <p:sp>
            <p:nvSpPr>
              <p:cNvPr id="44" name="Rectangle 43">
                <a:extLst>
                  <a:ext uri="{FF2B5EF4-FFF2-40B4-BE49-F238E27FC236}">
                    <a16:creationId xmlns:a16="http://schemas.microsoft.com/office/drawing/2014/main" id="{7077F7DA-D5E9-4C1A-A3DD-74DD7D76CF98}"/>
                  </a:ext>
                </a:extLst>
              </p:cNvPr>
              <p:cNvSpPr/>
              <p:nvPr/>
            </p:nvSpPr>
            <p:spPr bwMode="auto">
              <a:xfrm>
                <a:off x="1438477" y="3855311"/>
                <a:ext cx="344626" cy="344626"/>
              </a:xfrm>
              <a:prstGeom prst="rect">
                <a:avLst/>
              </a:prstGeom>
              <a:solidFill>
                <a:srgbClr val="F15B2A">
                  <a:alpha val="4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tx1"/>
                  </a:solidFill>
                  <a:effectLst/>
                  <a:uLnTx/>
                  <a:uFillTx/>
                  <a:latin typeface="Calibri" panose="020F0502020204030204"/>
                  <a:ea typeface="Segoe UI" pitchFamily="34" charset="0"/>
                  <a:cs typeface="Segoe UI" pitchFamily="34" charset="0"/>
                </a:endParaRPr>
              </a:p>
            </p:txBody>
          </p:sp>
          <p:sp>
            <p:nvSpPr>
              <p:cNvPr id="45" name="Oval 44">
                <a:extLst>
                  <a:ext uri="{FF2B5EF4-FFF2-40B4-BE49-F238E27FC236}">
                    <a16:creationId xmlns:a16="http://schemas.microsoft.com/office/drawing/2014/main" id="{62B8509A-7E6E-4A04-A587-02CD1F873ABA}"/>
                  </a:ext>
                </a:extLst>
              </p:cNvPr>
              <p:cNvSpPr/>
              <p:nvPr/>
            </p:nvSpPr>
            <p:spPr bwMode="auto">
              <a:xfrm>
                <a:off x="1413641" y="4351691"/>
                <a:ext cx="394299" cy="394298"/>
              </a:xfrm>
              <a:prstGeom prst="ellipse">
                <a:avLst/>
              </a:prstGeom>
              <a:solidFill>
                <a:srgbClr val="F15B2A">
                  <a:alpha val="4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solidFill>
                      <a:schemeClr val="tx1"/>
                    </a:solidFill>
                    <a:effectLst/>
                    <a:uLnTx/>
                    <a:uFillTx/>
                    <a:latin typeface="Calibri" panose="020F0502020204030204"/>
                    <a:ea typeface="Segoe UI" pitchFamily="34" charset="0"/>
                    <a:cs typeface="Segoe UI" pitchFamily="34" charset="0"/>
                  </a:rPr>
                  <a:t> </a:t>
                </a:r>
              </a:p>
            </p:txBody>
          </p:sp>
        </p:grpSp>
        <p:grpSp>
          <p:nvGrpSpPr>
            <p:cNvPr id="15" name="Group 14">
              <a:extLst>
                <a:ext uri="{FF2B5EF4-FFF2-40B4-BE49-F238E27FC236}">
                  <a16:creationId xmlns:a16="http://schemas.microsoft.com/office/drawing/2014/main" id="{D0006A00-B7B6-4D54-91BD-95B1CAE4AFF7}"/>
                </a:ext>
              </a:extLst>
            </p:cNvPr>
            <p:cNvGrpSpPr/>
            <p:nvPr/>
          </p:nvGrpSpPr>
          <p:grpSpPr>
            <a:xfrm>
              <a:off x="1463782" y="1710268"/>
              <a:ext cx="430961" cy="1413950"/>
              <a:chOff x="1395310" y="3332039"/>
              <a:chExt cx="430961" cy="1413950"/>
            </a:xfrm>
            <a:solidFill>
              <a:srgbClr val="00BCF2"/>
            </a:solidFill>
          </p:grpSpPr>
          <p:sp>
            <p:nvSpPr>
              <p:cNvPr id="40" name="Isosceles Triangle 39">
                <a:extLst>
                  <a:ext uri="{FF2B5EF4-FFF2-40B4-BE49-F238E27FC236}">
                    <a16:creationId xmlns:a16="http://schemas.microsoft.com/office/drawing/2014/main" id="{BFA4FD23-97AA-4769-A750-65C495851988}"/>
                  </a:ext>
                </a:extLst>
              </p:cNvPr>
              <p:cNvSpPr/>
              <p:nvPr/>
            </p:nvSpPr>
            <p:spPr bwMode="auto">
              <a:xfrm>
                <a:off x="1395310" y="3332039"/>
                <a:ext cx="430961" cy="371518"/>
              </a:xfrm>
              <a:prstGeom prst="triangle">
                <a:avLst/>
              </a:prstGeom>
              <a:solidFill>
                <a:srgbClr val="00BCF2">
                  <a:alpha val="4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tx1"/>
                  </a:solidFill>
                  <a:effectLst/>
                  <a:uLnTx/>
                  <a:uFillTx/>
                  <a:latin typeface="Calibri" panose="020F0502020204030204"/>
                  <a:ea typeface="Segoe UI" pitchFamily="34" charset="0"/>
                  <a:cs typeface="Segoe UI" pitchFamily="34" charset="0"/>
                </a:endParaRPr>
              </a:p>
            </p:txBody>
          </p:sp>
          <p:sp>
            <p:nvSpPr>
              <p:cNvPr id="41" name="Rectangle 40">
                <a:extLst>
                  <a:ext uri="{FF2B5EF4-FFF2-40B4-BE49-F238E27FC236}">
                    <a16:creationId xmlns:a16="http://schemas.microsoft.com/office/drawing/2014/main" id="{F53C2854-CB3E-4025-9072-214ABC536416}"/>
                  </a:ext>
                </a:extLst>
              </p:cNvPr>
              <p:cNvSpPr/>
              <p:nvPr/>
            </p:nvSpPr>
            <p:spPr bwMode="auto">
              <a:xfrm>
                <a:off x="1438477" y="3855311"/>
                <a:ext cx="344626" cy="344626"/>
              </a:xfrm>
              <a:prstGeom prst="rect">
                <a:avLst/>
              </a:prstGeom>
              <a:solidFill>
                <a:srgbClr val="00BCF2">
                  <a:alpha val="4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tx1"/>
                  </a:solidFill>
                  <a:effectLst/>
                  <a:uLnTx/>
                  <a:uFillTx/>
                  <a:latin typeface="Calibri" panose="020F0502020204030204"/>
                  <a:ea typeface="Segoe UI" pitchFamily="34" charset="0"/>
                  <a:cs typeface="Segoe UI" pitchFamily="34" charset="0"/>
                </a:endParaRPr>
              </a:p>
            </p:txBody>
          </p:sp>
          <p:sp>
            <p:nvSpPr>
              <p:cNvPr id="42" name="Oval 41">
                <a:extLst>
                  <a:ext uri="{FF2B5EF4-FFF2-40B4-BE49-F238E27FC236}">
                    <a16:creationId xmlns:a16="http://schemas.microsoft.com/office/drawing/2014/main" id="{5669DD04-6C35-4E66-9FC6-E8E3F2E68467}"/>
                  </a:ext>
                </a:extLst>
              </p:cNvPr>
              <p:cNvSpPr/>
              <p:nvPr/>
            </p:nvSpPr>
            <p:spPr bwMode="auto">
              <a:xfrm>
                <a:off x="1413641" y="4351691"/>
                <a:ext cx="394299" cy="394298"/>
              </a:xfrm>
              <a:prstGeom prst="ellipse">
                <a:avLst/>
              </a:prstGeom>
              <a:solidFill>
                <a:srgbClr val="00BCF2">
                  <a:alpha val="4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solidFill>
                      <a:schemeClr val="tx1"/>
                    </a:solidFill>
                    <a:effectLst/>
                    <a:uLnTx/>
                    <a:uFillTx/>
                    <a:latin typeface="Calibri" panose="020F0502020204030204"/>
                    <a:ea typeface="Segoe UI" pitchFamily="34" charset="0"/>
                    <a:cs typeface="Segoe UI" pitchFamily="34" charset="0"/>
                  </a:rPr>
                  <a:t> </a:t>
                </a:r>
              </a:p>
            </p:txBody>
          </p:sp>
        </p:grpSp>
        <p:grpSp>
          <p:nvGrpSpPr>
            <p:cNvPr id="16" name="Group 15">
              <a:extLst>
                <a:ext uri="{FF2B5EF4-FFF2-40B4-BE49-F238E27FC236}">
                  <a16:creationId xmlns:a16="http://schemas.microsoft.com/office/drawing/2014/main" id="{0F75FB49-F6BF-4CAD-AC0E-93001B42E966}"/>
                </a:ext>
              </a:extLst>
            </p:cNvPr>
            <p:cNvGrpSpPr/>
            <p:nvPr/>
          </p:nvGrpSpPr>
          <p:grpSpPr>
            <a:xfrm>
              <a:off x="473590" y="1759166"/>
              <a:ext cx="430961" cy="1413950"/>
              <a:chOff x="1395310" y="3332039"/>
              <a:chExt cx="430961" cy="1413950"/>
            </a:xfrm>
          </p:grpSpPr>
          <p:sp>
            <p:nvSpPr>
              <p:cNvPr id="37" name="Isosceles Triangle 36">
                <a:extLst>
                  <a:ext uri="{FF2B5EF4-FFF2-40B4-BE49-F238E27FC236}">
                    <a16:creationId xmlns:a16="http://schemas.microsoft.com/office/drawing/2014/main" id="{285D6A97-6D6D-4AE6-85B8-2494BF2D592A}"/>
                  </a:ext>
                </a:extLst>
              </p:cNvPr>
              <p:cNvSpPr/>
              <p:nvPr/>
            </p:nvSpPr>
            <p:spPr bwMode="auto">
              <a:xfrm>
                <a:off x="1395310" y="3332039"/>
                <a:ext cx="430961" cy="371518"/>
              </a:xfrm>
              <a:prstGeom prst="triangle">
                <a:avLst/>
              </a:prstGeom>
              <a:solidFill>
                <a:srgbClr val="B4D7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tx1"/>
                  </a:solidFill>
                  <a:effectLst/>
                  <a:uLnTx/>
                  <a:uFillTx/>
                  <a:latin typeface="Calibri" panose="020F0502020204030204"/>
                  <a:ea typeface="Segoe UI" pitchFamily="34" charset="0"/>
                  <a:cs typeface="Segoe UI" pitchFamily="34" charset="0"/>
                </a:endParaRPr>
              </a:p>
            </p:txBody>
          </p:sp>
          <p:sp>
            <p:nvSpPr>
              <p:cNvPr id="38" name="Rectangle 37">
                <a:extLst>
                  <a:ext uri="{FF2B5EF4-FFF2-40B4-BE49-F238E27FC236}">
                    <a16:creationId xmlns:a16="http://schemas.microsoft.com/office/drawing/2014/main" id="{41451D8A-6802-4FC8-B6A5-B9566A667CEA}"/>
                  </a:ext>
                </a:extLst>
              </p:cNvPr>
              <p:cNvSpPr/>
              <p:nvPr/>
            </p:nvSpPr>
            <p:spPr bwMode="auto">
              <a:xfrm>
                <a:off x="1438477" y="3855311"/>
                <a:ext cx="344626" cy="344626"/>
              </a:xfrm>
              <a:prstGeom prst="rect">
                <a:avLst/>
              </a:prstGeom>
              <a:solidFill>
                <a:srgbClr val="B4D7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tx1"/>
                  </a:solidFill>
                  <a:effectLst/>
                  <a:uLnTx/>
                  <a:uFillTx/>
                  <a:latin typeface="Calibri" panose="020F0502020204030204"/>
                  <a:ea typeface="Segoe UI" pitchFamily="34" charset="0"/>
                  <a:cs typeface="Segoe UI" pitchFamily="34" charset="0"/>
                </a:endParaRPr>
              </a:p>
            </p:txBody>
          </p:sp>
          <p:sp>
            <p:nvSpPr>
              <p:cNvPr id="39" name="Oval 38">
                <a:extLst>
                  <a:ext uri="{FF2B5EF4-FFF2-40B4-BE49-F238E27FC236}">
                    <a16:creationId xmlns:a16="http://schemas.microsoft.com/office/drawing/2014/main" id="{727894F3-B4F2-41B1-B233-CA856612F262}"/>
                  </a:ext>
                </a:extLst>
              </p:cNvPr>
              <p:cNvSpPr/>
              <p:nvPr/>
            </p:nvSpPr>
            <p:spPr bwMode="auto">
              <a:xfrm>
                <a:off x="1413641" y="4351691"/>
                <a:ext cx="394299" cy="394298"/>
              </a:xfrm>
              <a:prstGeom prst="ellipse">
                <a:avLst/>
              </a:prstGeom>
              <a:solidFill>
                <a:srgbClr val="B4D7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solidFill>
                      <a:schemeClr val="tx1"/>
                    </a:solidFill>
                    <a:effectLst/>
                    <a:uLnTx/>
                    <a:uFillTx/>
                    <a:latin typeface="Calibri" panose="020F0502020204030204"/>
                    <a:ea typeface="Segoe UI" pitchFamily="34" charset="0"/>
                    <a:cs typeface="Segoe UI" pitchFamily="34" charset="0"/>
                  </a:rPr>
                  <a:t> </a:t>
                </a:r>
              </a:p>
            </p:txBody>
          </p:sp>
        </p:grpSp>
        <p:grpSp>
          <p:nvGrpSpPr>
            <p:cNvPr id="17" name="Group 16">
              <a:extLst>
                <a:ext uri="{FF2B5EF4-FFF2-40B4-BE49-F238E27FC236}">
                  <a16:creationId xmlns:a16="http://schemas.microsoft.com/office/drawing/2014/main" id="{730AC9FE-4EA6-4129-A44E-1E4F946879AC}"/>
                </a:ext>
              </a:extLst>
            </p:cNvPr>
            <p:cNvGrpSpPr/>
            <p:nvPr/>
          </p:nvGrpSpPr>
          <p:grpSpPr>
            <a:xfrm>
              <a:off x="996803" y="1759166"/>
              <a:ext cx="430961" cy="1413950"/>
              <a:chOff x="1395310" y="3332039"/>
              <a:chExt cx="430961" cy="1413950"/>
            </a:xfrm>
            <a:solidFill>
              <a:srgbClr val="AB645B"/>
            </a:solidFill>
          </p:grpSpPr>
          <p:sp>
            <p:nvSpPr>
              <p:cNvPr id="34" name="Isosceles Triangle 33">
                <a:extLst>
                  <a:ext uri="{FF2B5EF4-FFF2-40B4-BE49-F238E27FC236}">
                    <a16:creationId xmlns:a16="http://schemas.microsoft.com/office/drawing/2014/main" id="{54DA9539-5BBF-4718-A175-AC81CF6409A3}"/>
                  </a:ext>
                </a:extLst>
              </p:cNvPr>
              <p:cNvSpPr/>
              <p:nvPr/>
            </p:nvSpPr>
            <p:spPr bwMode="auto">
              <a:xfrm>
                <a:off x="1395310" y="3332039"/>
                <a:ext cx="430961" cy="371518"/>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tx1"/>
                  </a:solidFill>
                  <a:effectLst/>
                  <a:uLnTx/>
                  <a:uFillTx/>
                  <a:latin typeface="Calibri" panose="020F0502020204030204"/>
                  <a:ea typeface="Segoe UI" pitchFamily="34" charset="0"/>
                  <a:cs typeface="Segoe UI" pitchFamily="34" charset="0"/>
                </a:endParaRPr>
              </a:p>
            </p:txBody>
          </p:sp>
          <p:sp>
            <p:nvSpPr>
              <p:cNvPr id="35" name="Rectangle 34">
                <a:extLst>
                  <a:ext uri="{FF2B5EF4-FFF2-40B4-BE49-F238E27FC236}">
                    <a16:creationId xmlns:a16="http://schemas.microsoft.com/office/drawing/2014/main" id="{614221A6-058F-498D-A7D6-A2AC0628A861}"/>
                  </a:ext>
                </a:extLst>
              </p:cNvPr>
              <p:cNvSpPr/>
              <p:nvPr/>
            </p:nvSpPr>
            <p:spPr bwMode="auto">
              <a:xfrm>
                <a:off x="1438477" y="3855311"/>
                <a:ext cx="344626" cy="34462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tx1"/>
                  </a:solidFill>
                  <a:effectLst/>
                  <a:uLnTx/>
                  <a:uFillTx/>
                  <a:latin typeface="Calibri" panose="020F0502020204030204"/>
                  <a:ea typeface="Segoe UI" pitchFamily="34" charset="0"/>
                  <a:cs typeface="Segoe UI" pitchFamily="34" charset="0"/>
                </a:endParaRPr>
              </a:p>
            </p:txBody>
          </p:sp>
          <p:sp>
            <p:nvSpPr>
              <p:cNvPr id="36" name="Oval 35">
                <a:extLst>
                  <a:ext uri="{FF2B5EF4-FFF2-40B4-BE49-F238E27FC236}">
                    <a16:creationId xmlns:a16="http://schemas.microsoft.com/office/drawing/2014/main" id="{89F7DC3E-A275-4AF0-9E56-B8020B140342}"/>
                  </a:ext>
                </a:extLst>
              </p:cNvPr>
              <p:cNvSpPr/>
              <p:nvPr/>
            </p:nvSpPr>
            <p:spPr bwMode="auto">
              <a:xfrm>
                <a:off x="1413641" y="4351691"/>
                <a:ext cx="394299" cy="39429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solidFill>
                      <a:schemeClr val="tx1"/>
                    </a:solidFill>
                    <a:effectLst/>
                    <a:uLnTx/>
                    <a:uFillTx/>
                    <a:latin typeface="Calibri" panose="020F0502020204030204"/>
                    <a:ea typeface="Segoe UI" pitchFamily="34" charset="0"/>
                    <a:cs typeface="Segoe UI" pitchFamily="34" charset="0"/>
                  </a:rPr>
                  <a:t> </a:t>
                </a:r>
              </a:p>
            </p:txBody>
          </p:sp>
        </p:grpSp>
        <p:grpSp>
          <p:nvGrpSpPr>
            <p:cNvPr id="18" name="Group 17">
              <a:extLst>
                <a:ext uri="{FF2B5EF4-FFF2-40B4-BE49-F238E27FC236}">
                  <a16:creationId xmlns:a16="http://schemas.microsoft.com/office/drawing/2014/main" id="{EC676B24-B64D-46E0-8D25-E6F071F153EB}"/>
                </a:ext>
              </a:extLst>
            </p:cNvPr>
            <p:cNvGrpSpPr/>
            <p:nvPr/>
          </p:nvGrpSpPr>
          <p:grpSpPr>
            <a:xfrm>
              <a:off x="1520016" y="1759166"/>
              <a:ext cx="430961" cy="1413950"/>
              <a:chOff x="1395310" y="3332039"/>
              <a:chExt cx="430961" cy="1413950"/>
            </a:xfrm>
            <a:solidFill>
              <a:srgbClr val="00A8E9"/>
            </a:solidFill>
          </p:grpSpPr>
          <p:sp>
            <p:nvSpPr>
              <p:cNvPr id="31" name="Isosceles Triangle 30">
                <a:extLst>
                  <a:ext uri="{FF2B5EF4-FFF2-40B4-BE49-F238E27FC236}">
                    <a16:creationId xmlns:a16="http://schemas.microsoft.com/office/drawing/2014/main" id="{011BAAB4-24BB-4FC4-BF12-7E0059B9694D}"/>
                  </a:ext>
                </a:extLst>
              </p:cNvPr>
              <p:cNvSpPr/>
              <p:nvPr/>
            </p:nvSpPr>
            <p:spPr bwMode="auto">
              <a:xfrm>
                <a:off x="1395310" y="3332039"/>
                <a:ext cx="430961" cy="371518"/>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tx1"/>
                  </a:solidFill>
                  <a:effectLst/>
                  <a:uLnTx/>
                  <a:uFillTx/>
                  <a:latin typeface="Calibri" panose="020F0502020204030204"/>
                  <a:ea typeface="Segoe UI" pitchFamily="34" charset="0"/>
                  <a:cs typeface="Segoe UI" pitchFamily="34" charset="0"/>
                </a:endParaRPr>
              </a:p>
            </p:txBody>
          </p:sp>
          <p:sp>
            <p:nvSpPr>
              <p:cNvPr id="32" name="Rectangle 31">
                <a:extLst>
                  <a:ext uri="{FF2B5EF4-FFF2-40B4-BE49-F238E27FC236}">
                    <a16:creationId xmlns:a16="http://schemas.microsoft.com/office/drawing/2014/main" id="{E83611E1-8C44-4E1B-845C-F678FEA26DF2}"/>
                  </a:ext>
                </a:extLst>
              </p:cNvPr>
              <p:cNvSpPr/>
              <p:nvPr/>
            </p:nvSpPr>
            <p:spPr bwMode="auto">
              <a:xfrm>
                <a:off x="1438477" y="3855311"/>
                <a:ext cx="344626" cy="34462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tx1"/>
                  </a:solidFill>
                  <a:effectLst/>
                  <a:uLnTx/>
                  <a:uFillTx/>
                  <a:latin typeface="Calibri" panose="020F0502020204030204"/>
                  <a:ea typeface="Segoe UI" pitchFamily="34" charset="0"/>
                  <a:cs typeface="Segoe UI" pitchFamily="34" charset="0"/>
                </a:endParaRPr>
              </a:p>
            </p:txBody>
          </p:sp>
          <p:sp>
            <p:nvSpPr>
              <p:cNvPr id="33" name="Oval 32">
                <a:extLst>
                  <a:ext uri="{FF2B5EF4-FFF2-40B4-BE49-F238E27FC236}">
                    <a16:creationId xmlns:a16="http://schemas.microsoft.com/office/drawing/2014/main" id="{CDEE966F-A135-42F3-A161-E3207BA2FEB2}"/>
                  </a:ext>
                </a:extLst>
              </p:cNvPr>
              <p:cNvSpPr/>
              <p:nvPr/>
            </p:nvSpPr>
            <p:spPr bwMode="auto">
              <a:xfrm>
                <a:off x="1413641" y="4351691"/>
                <a:ext cx="394299" cy="39429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solidFill>
                      <a:schemeClr val="tx1"/>
                    </a:solidFill>
                    <a:effectLst/>
                    <a:uLnTx/>
                    <a:uFillTx/>
                    <a:latin typeface="Calibri" panose="020F0502020204030204"/>
                    <a:ea typeface="Segoe UI" pitchFamily="34" charset="0"/>
                    <a:cs typeface="Segoe UI" pitchFamily="34" charset="0"/>
                  </a:rPr>
                  <a:t> </a:t>
                </a:r>
              </a:p>
            </p:txBody>
          </p:sp>
        </p:grpSp>
        <p:grpSp>
          <p:nvGrpSpPr>
            <p:cNvPr id="19" name="Group 18">
              <a:extLst>
                <a:ext uri="{FF2B5EF4-FFF2-40B4-BE49-F238E27FC236}">
                  <a16:creationId xmlns:a16="http://schemas.microsoft.com/office/drawing/2014/main" id="{AC6EFA64-453D-45C4-ADD9-DD1625F22DF8}"/>
                </a:ext>
              </a:extLst>
            </p:cNvPr>
            <p:cNvGrpSpPr/>
            <p:nvPr/>
          </p:nvGrpSpPr>
          <p:grpSpPr>
            <a:xfrm>
              <a:off x="551828" y="1820289"/>
              <a:ext cx="430961" cy="1413950"/>
              <a:chOff x="1395310" y="3332039"/>
              <a:chExt cx="430961" cy="1413950"/>
            </a:xfrm>
          </p:grpSpPr>
          <p:sp>
            <p:nvSpPr>
              <p:cNvPr id="28" name="Isosceles Triangle 27">
                <a:extLst>
                  <a:ext uri="{FF2B5EF4-FFF2-40B4-BE49-F238E27FC236}">
                    <a16:creationId xmlns:a16="http://schemas.microsoft.com/office/drawing/2014/main" id="{D4BF770B-EB8F-4A08-A092-0C1757AA4ABF}"/>
                  </a:ext>
                </a:extLst>
              </p:cNvPr>
              <p:cNvSpPr/>
              <p:nvPr/>
            </p:nvSpPr>
            <p:spPr bwMode="auto">
              <a:xfrm>
                <a:off x="1395310" y="3332039"/>
                <a:ext cx="430961" cy="371518"/>
              </a:xfrm>
              <a:prstGeom prst="triangle">
                <a:avLst/>
              </a:prstGeom>
              <a:solidFill>
                <a:srgbClr val="0070C0"/>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tx1"/>
                  </a:solidFill>
                  <a:effectLst/>
                  <a:uLnTx/>
                  <a:uFillTx/>
                  <a:latin typeface="Calibri" panose="020F0502020204030204"/>
                  <a:ea typeface="Segoe UI" pitchFamily="34" charset="0"/>
                  <a:cs typeface="Segoe UI" pitchFamily="34" charset="0"/>
                </a:endParaRPr>
              </a:p>
            </p:txBody>
          </p:sp>
          <p:sp>
            <p:nvSpPr>
              <p:cNvPr id="29" name="Rectangle 28">
                <a:extLst>
                  <a:ext uri="{FF2B5EF4-FFF2-40B4-BE49-F238E27FC236}">
                    <a16:creationId xmlns:a16="http://schemas.microsoft.com/office/drawing/2014/main" id="{AEA2E620-496A-45DE-8116-49E0D9EFE4A6}"/>
                  </a:ext>
                </a:extLst>
              </p:cNvPr>
              <p:cNvSpPr/>
              <p:nvPr/>
            </p:nvSpPr>
            <p:spPr bwMode="auto">
              <a:xfrm>
                <a:off x="1438477" y="3855311"/>
                <a:ext cx="344626" cy="344626"/>
              </a:xfrm>
              <a:prstGeom prst="rect">
                <a:avLst/>
              </a:prstGeom>
              <a:solidFill>
                <a:srgbClr val="0070C0"/>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tx1"/>
                  </a:solidFill>
                  <a:effectLst/>
                  <a:uLnTx/>
                  <a:uFillTx/>
                  <a:latin typeface="Calibri" panose="020F0502020204030204"/>
                  <a:ea typeface="Segoe UI" pitchFamily="34" charset="0"/>
                  <a:cs typeface="Segoe UI" pitchFamily="34" charset="0"/>
                </a:endParaRPr>
              </a:p>
            </p:txBody>
          </p:sp>
          <p:sp>
            <p:nvSpPr>
              <p:cNvPr id="30" name="Oval 29">
                <a:extLst>
                  <a:ext uri="{FF2B5EF4-FFF2-40B4-BE49-F238E27FC236}">
                    <a16:creationId xmlns:a16="http://schemas.microsoft.com/office/drawing/2014/main" id="{B33E8A6B-506D-404C-A961-270629D76762}"/>
                  </a:ext>
                </a:extLst>
              </p:cNvPr>
              <p:cNvSpPr/>
              <p:nvPr/>
            </p:nvSpPr>
            <p:spPr bwMode="auto">
              <a:xfrm>
                <a:off x="1413641" y="4351691"/>
                <a:ext cx="394299" cy="394298"/>
              </a:xfrm>
              <a:prstGeom prst="ellipse">
                <a:avLst/>
              </a:prstGeom>
              <a:solidFill>
                <a:srgbClr val="0070C0"/>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solidFill>
                      <a:schemeClr val="tx1"/>
                    </a:solidFill>
                    <a:effectLst/>
                    <a:uLnTx/>
                    <a:uFillTx/>
                    <a:latin typeface="Calibri" panose="020F0502020204030204"/>
                    <a:ea typeface="Segoe UI" pitchFamily="34" charset="0"/>
                    <a:cs typeface="Segoe UI" pitchFamily="34" charset="0"/>
                  </a:rPr>
                  <a:t> </a:t>
                </a:r>
              </a:p>
            </p:txBody>
          </p:sp>
        </p:grpSp>
        <p:grpSp>
          <p:nvGrpSpPr>
            <p:cNvPr id="20" name="Group 19">
              <a:extLst>
                <a:ext uri="{FF2B5EF4-FFF2-40B4-BE49-F238E27FC236}">
                  <a16:creationId xmlns:a16="http://schemas.microsoft.com/office/drawing/2014/main" id="{CEB4FAA8-4F02-49A8-A3B8-2A1E94997070}"/>
                </a:ext>
              </a:extLst>
            </p:cNvPr>
            <p:cNvGrpSpPr/>
            <p:nvPr/>
          </p:nvGrpSpPr>
          <p:grpSpPr>
            <a:xfrm>
              <a:off x="1075041" y="1820289"/>
              <a:ext cx="430961" cy="1413950"/>
              <a:chOff x="1395310" y="3332039"/>
              <a:chExt cx="430961" cy="1413950"/>
            </a:xfrm>
            <a:solidFill>
              <a:srgbClr val="F15B2A"/>
            </a:solidFill>
          </p:grpSpPr>
          <p:sp>
            <p:nvSpPr>
              <p:cNvPr id="25" name="Isosceles Triangle 24">
                <a:extLst>
                  <a:ext uri="{FF2B5EF4-FFF2-40B4-BE49-F238E27FC236}">
                    <a16:creationId xmlns:a16="http://schemas.microsoft.com/office/drawing/2014/main" id="{6551D890-B5CB-4119-A535-0AEBDC65BF36}"/>
                  </a:ext>
                </a:extLst>
              </p:cNvPr>
              <p:cNvSpPr/>
              <p:nvPr/>
            </p:nvSpPr>
            <p:spPr bwMode="auto">
              <a:xfrm>
                <a:off x="1395310" y="3332039"/>
                <a:ext cx="430961" cy="371518"/>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tx1"/>
                  </a:solidFill>
                  <a:effectLst/>
                  <a:uLnTx/>
                  <a:uFillTx/>
                  <a:latin typeface="Calibri" panose="020F0502020204030204"/>
                  <a:ea typeface="Segoe UI" pitchFamily="34" charset="0"/>
                  <a:cs typeface="Segoe UI" pitchFamily="34" charset="0"/>
                </a:endParaRPr>
              </a:p>
            </p:txBody>
          </p:sp>
          <p:sp>
            <p:nvSpPr>
              <p:cNvPr id="26" name="Rectangle 25">
                <a:extLst>
                  <a:ext uri="{FF2B5EF4-FFF2-40B4-BE49-F238E27FC236}">
                    <a16:creationId xmlns:a16="http://schemas.microsoft.com/office/drawing/2014/main" id="{EDEA89E2-4BC0-4053-9F53-8AA7DD11E22B}"/>
                  </a:ext>
                </a:extLst>
              </p:cNvPr>
              <p:cNvSpPr/>
              <p:nvPr/>
            </p:nvSpPr>
            <p:spPr bwMode="auto">
              <a:xfrm>
                <a:off x="1438477" y="3855311"/>
                <a:ext cx="344626" cy="34462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tx1"/>
                  </a:solidFill>
                  <a:effectLst/>
                  <a:uLnTx/>
                  <a:uFillTx/>
                  <a:latin typeface="Calibri" panose="020F0502020204030204"/>
                  <a:ea typeface="Segoe UI" pitchFamily="34" charset="0"/>
                  <a:cs typeface="Segoe UI" pitchFamily="34" charset="0"/>
                </a:endParaRPr>
              </a:p>
            </p:txBody>
          </p:sp>
          <p:sp>
            <p:nvSpPr>
              <p:cNvPr id="27" name="Oval 26">
                <a:extLst>
                  <a:ext uri="{FF2B5EF4-FFF2-40B4-BE49-F238E27FC236}">
                    <a16:creationId xmlns:a16="http://schemas.microsoft.com/office/drawing/2014/main" id="{C6935BD6-5253-4504-92EB-1A820E1C5D41}"/>
                  </a:ext>
                </a:extLst>
              </p:cNvPr>
              <p:cNvSpPr/>
              <p:nvPr/>
            </p:nvSpPr>
            <p:spPr bwMode="auto">
              <a:xfrm>
                <a:off x="1413641" y="4351691"/>
                <a:ext cx="394299" cy="39429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solidFill>
                      <a:schemeClr val="tx1"/>
                    </a:solidFill>
                    <a:effectLst/>
                    <a:uLnTx/>
                    <a:uFillTx/>
                    <a:latin typeface="Calibri" panose="020F0502020204030204"/>
                    <a:ea typeface="Segoe UI" pitchFamily="34" charset="0"/>
                    <a:cs typeface="Segoe UI" pitchFamily="34" charset="0"/>
                  </a:rPr>
                  <a:t> </a:t>
                </a:r>
              </a:p>
            </p:txBody>
          </p:sp>
        </p:grpSp>
        <p:grpSp>
          <p:nvGrpSpPr>
            <p:cNvPr id="21" name="Group 20">
              <a:extLst>
                <a:ext uri="{FF2B5EF4-FFF2-40B4-BE49-F238E27FC236}">
                  <a16:creationId xmlns:a16="http://schemas.microsoft.com/office/drawing/2014/main" id="{D6EEFF2D-3C11-4886-BD80-A36DA90EEEB2}"/>
                </a:ext>
              </a:extLst>
            </p:cNvPr>
            <p:cNvGrpSpPr/>
            <p:nvPr/>
          </p:nvGrpSpPr>
          <p:grpSpPr>
            <a:xfrm>
              <a:off x="1598254" y="1820289"/>
              <a:ext cx="430961" cy="1413950"/>
              <a:chOff x="1395310" y="3332039"/>
              <a:chExt cx="430961" cy="1413950"/>
            </a:xfrm>
            <a:solidFill>
              <a:srgbClr val="00BCF2"/>
            </a:solidFill>
          </p:grpSpPr>
          <p:sp>
            <p:nvSpPr>
              <p:cNvPr id="22" name="Isosceles Triangle 21">
                <a:extLst>
                  <a:ext uri="{FF2B5EF4-FFF2-40B4-BE49-F238E27FC236}">
                    <a16:creationId xmlns:a16="http://schemas.microsoft.com/office/drawing/2014/main" id="{3C2B0164-212B-422E-90DB-9C998A629E07}"/>
                  </a:ext>
                </a:extLst>
              </p:cNvPr>
              <p:cNvSpPr/>
              <p:nvPr/>
            </p:nvSpPr>
            <p:spPr bwMode="auto">
              <a:xfrm>
                <a:off x="1395310" y="3332039"/>
                <a:ext cx="430961" cy="371518"/>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tx1"/>
                  </a:solidFill>
                  <a:effectLst/>
                  <a:uLnTx/>
                  <a:uFillTx/>
                  <a:latin typeface="Calibri" panose="020F0502020204030204"/>
                  <a:ea typeface="Segoe UI" pitchFamily="34" charset="0"/>
                  <a:cs typeface="Segoe UI" pitchFamily="34" charset="0"/>
                </a:endParaRPr>
              </a:p>
            </p:txBody>
          </p:sp>
          <p:sp>
            <p:nvSpPr>
              <p:cNvPr id="23" name="Rectangle 22">
                <a:extLst>
                  <a:ext uri="{FF2B5EF4-FFF2-40B4-BE49-F238E27FC236}">
                    <a16:creationId xmlns:a16="http://schemas.microsoft.com/office/drawing/2014/main" id="{A017C1EB-8F38-4F9E-A9E7-2650EB75D595}"/>
                  </a:ext>
                </a:extLst>
              </p:cNvPr>
              <p:cNvSpPr/>
              <p:nvPr/>
            </p:nvSpPr>
            <p:spPr bwMode="auto">
              <a:xfrm>
                <a:off x="1438477" y="3855311"/>
                <a:ext cx="344626" cy="34462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tx1"/>
                  </a:solidFill>
                  <a:effectLst/>
                  <a:uLnTx/>
                  <a:uFillTx/>
                  <a:latin typeface="Calibri" panose="020F0502020204030204"/>
                  <a:ea typeface="Segoe UI" pitchFamily="34" charset="0"/>
                  <a:cs typeface="Segoe UI" pitchFamily="34" charset="0"/>
                </a:endParaRPr>
              </a:p>
            </p:txBody>
          </p:sp>
          <p:sp>
            <p:nvSpPr>
              <p:cNvPr id="24" name="Oval 23">
                <a:extLst>
                  <a:ext uri="{FF2B5EF4-FFF2-40B4-BE49-F238E27FC236}">
                    <a16:creationId xmlns:a16="http://schemas.microsoft.com/office/drawing/2014/main" id="{5911C92C-1DFB-4517-BE93-211C01AD4BA4}"/>
                  </a:ext>
                </a:extLst>
              </p:cNvPr>
              <p:cNvSpPr/>
              <p:nvPr/>
            </p:nvSpPr>
            <p:spPr bwMode="auto">
              <a:xfrm>
                <a:off x="1413641" y="4351691"/>
                <a:ext cx="394299" cy="39429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solidFill>
                      <a:schemeClr val="tx1"/>
                    </a:solidFill>
                    <a:effectLst/>
                    <a:uLnTx/>
                    <a:uFillTx/>
                    <a:latin typeface="Calibri" panose="020F0502020204030204"/>
                    <a:ea typeface="Segoe UI" pitchFamily="34" charset="0"/>
                    <a:cs typeface="Segoe UI" pitchFamily="34" charset="0"/>
                  </a:rPr>
                  <a:t> </a:t>
                </a:r>
              </a:p>
            </p:txBody>
          </p:sp>
        </p:grpSp>
      </p:grpSp>
      <p:sp>
        <p:nvSpPr>
          <p:cNvPr id="49" name="Title 3">
            <a:extLst>
              <a:ext uri="{FF2B5EF4-FFF2-40B4-BE49-F238E27FC236}">
                <a16:creationId xmlns:a16="http://schemas.microsoft.com/office/drawing/2014/main" id="{C5F3EEC8-88A7-4E11-A6F0-5478CFFFB7AE}"/>
              </a:ext>
            </a:extLst>
          </p:cNvPr>
          <p:cNvSpPr>
            <a:spLocks noGrp="1"/>
          </p:cNvSpPr>
          <p:nvPr>
            <p:ph type="title"/>
          </p:nvPr>
        </p:nvSpPr>
        <p:spPr>
          <a:xfrm>
            <a:off x="838200" y="298028"/>
            <a:ext cx="10515600" cy="1325563"/>
          </a:xfrm>
        </p:spPr>
        <p:txBody>
          <a:bodyPr/>
          <a:lstStyle/>
          <a:p>
            <a:r>
              <a:rPr lang="en-US">
                <a:latin typeface="Segoe UI Light" panose="020B0502040204020203" pitchFamily="34" charset="0"/>
                <a:cs typeface="Segoe UI Light" panose="020B0502040204020203" pitchFamily="34" charset="0"/>
              </a:rPr>
              <a:t>Machine Learning </a:t>
            </a:r>
            <a:r>
              <a:rPr lang="en-US">
                <a:latin typeface="Segoe UI Light"/>
                <a:cs typeface="Segoe UI Light"/>
              </a:rPr>
              <a:t>Process</a:t>
            </a:r>
            <a:endParaRPr lang="en-US" spc="0">
              <a:latin typeface="Segoe UI Light"/>
              <a:cs typeface="Segoe UI Light"/>
            </a:endParaRPr>
          </a:p>
        </p:txBody>
      </p:sp>
    </p:spTree>
    <p:extLst>
      <p:ext uri="{BB962C8B-B14F-4D97-AF65-F5344CB8AC3E}">
        <p14:creationId xmlns:p14="http://schemas.microsoft.com/office/powerpoint/2010/main" val="405229729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tle 1">
            <a:extLst>
              <a:ext uri="{FF2B5EF4-FFF2-40B4-BE49-F238E27FC236}">
                <a16:creationId xmlns:a16="http://schemas.microsoft.com/office/drawing/2014/main" id="{C4AC55CB-1E53-4046-9F18-736C738B94F2}"/>
              </a:ext>
            </a:extLst>
          </p:cNvPr>
          <p:cNvSpPr txBox="1">
            <a:spLocks/>
          </p:cNvSpPr>
          <p:nvPr/>
        </p:nvSpPr>
        <p:spPr>
          <a:xfrm>
            <a:off x="2660794" y="4873351"/>
            <a:ext cx="6885978" cy="568833"/>
          </a:xfrm>
          <a:prstGeom prst="rect">
            <a:avLst/>
          </a:prstGeom>
          <a:noFill/>
        </p:spPr>
        <p:txBody>
          <a:bodyPr wrap="square" tIns="89642" bIns="89642" anchor="b" anchorCtr="0">
            <a:spAutoFit/>
          </a:bodyPr>
          <a:lstStyle>
            <a:lvl1pPr algn="l" defTabSz="932742" rtl="0" eaLnBrk="1" latinLnBrk="0" hangingPunct="1">
              <a:lnSpc>
                <a:spcPct val="90000"/>
              </a:lnSpc>
              <a:spcBef>
                <a:spcPct val="0"/>
              </a:spcBef>
              <a:buNone/>
              <a:defRPr lang="en-US" sz="6000" b="0" kern="1200" cap="none" spc="-100"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marL="0" marR="0" lvl="0" indent="0" algn="ctr" defTabSz="914367" rtl="0" eaLnBrk="1" fontAlgn="auto" latinLnBrk="0" hangingPunct="1">
              <a:lnSpc>
                <a:spcPct val="90000"/>
              </a:lnSpc>
              <a:spcBef>
                <a:spcPct val="0"/>
              </a:spcBef>
              <a:spcAft>
                <a:spcPts val="0"/>
              </a:spcAft>
              <a:buClrTx/>
              <a:buSzTx/>
              <a:buFontTx/>
              <a:buNone/>
              <a:tabLst/>
              <a:defRPr/>
            </a:pPr>
            <a:r>
              <a:rPr kumimoji="0" lang="en-US" sz="2800" i="0" u="none" strike="noStrike" kern="1200" cap="none" spc="-50" normalizeH="0" baseline="0" noProof="0">
                <a:ln w="3175">
                  <a:noFill/>
                </a:ln>
                <a:solidFill>
                  <a:srgbClr val="0078D4"/>
                </a:solidFill>
                <a:effectLst/>
                <a:uLnTx/>
                <a:uFillTx/>
                <a:latin typeface="Segoe UI Light" panose="020B0502040204020203" pitchFamily="34" charset="0"/>
                <a:cs typeface="Segoe UI Light" panose="020B0502040204020203" pitchFamily="34" charset="0"/>
              </a:rPr>
              <a:t>How much is this car worth?</a:t>
            </a:r>
          </a:p>
        </p:txBody>
      </p:sp>
      <p:sp>
        <p:nvSpPr>
          <p:cNvPr id="5" name="Freeform 5">
            <a:extLst>
              <a:ext uri="{FF2B5EF4-FFF2-40B4-BE49-F238E27FC236}">
                <a16:creationId xmlns:a16="http://schemas.microsoft.com/office/drawing/2014/main" id="{E3669FDF-B3F4-4C9E-A603-C252A18C2BAB}"/>
              </a:ext>
            </a:extLst>
          </p:cNvPr>
          <p:cNvSpPr>
            <a:spLocks noEditPoints="1"/>
          </p:cNvSpPr>
          <p:nvPr/>
        </p:nvSpPr>
        <p:spPr bwMode="auto">
          <a:xfrm>
            <a:off x="4446814" y="2659496"/>
            <a:ext cx="3298372" cy="1984378"/>
          </a:xfrm>
          <a:custGeom>
            <a:avLst/>
            <a:gdLst>
              <a:gd name="T0" fmla="*/ 27 w 339"/>
              <a:gd name="T1" fmla="*/ 70 h 204"/>
              <a:gd name="T2" fmla="*/ 287 w 339"/>
              <a:gd name="T3" fmla="*/ 70 h 204"/>
              <a:gd name="T4" fmla="*/ 339 w 339"/>
              <a:gd name="T5" fmla="*/ 122 h 204"/>
              <a:gd name="T6" fmla="*/ 339 w 339"/>
              <a:gd name="T7" fmla="*/ 160 h 204"/>
              <a:gd name="T8" fmla="*/ 318 w 339"/>
              <a:gd name="T9" fmla="*/ 182 h 204"/>
              <a:gd name="T10" fmla="*/ 294 w 339"/>
              <a:gd name="T11" fmla="*/ 182 h 204"/>
              <a:gd name="T12" fmla="*/ 297 w 339"/>
              <a:gd name="T13" fmla="*/ 168 h 204"/>
              <a:gd name="T14" fmla="*/ 261 w 339"/>
              <a:gd name="T15" fmla="*/ 131 h 204"/>
              <a:gd name="T16" fmla="*/ 224 w 339"/>
              <a:gd name="T17" fmla="*/ 168 h 204"/>
              <a:gd name="T18" fmla="*/ 261 w 339"/>
              <a:gd name="T19" fmla="*/ 204 h 204"/>
              <a:gd name="T20" fmla="*/ 297 w 339"/>
              <a:gd name="T21" fmla="*/ 168 h 204"/>
              <a:gd name="T22" fmla="*/ 95 w 339"/>
              <a:gd name="T23" fmla="*/ 168 h 204"/>
              <a:gd name="T24" fmla="*/ 59 w 339"/>
              <a:gd name="T25" fmla="*/ 131 h 204"/>
              <a:gd name="T26" fmla="*/ 22 w 339"/>
              <a:gd name="T27" fmla="*/ 168 h 204"/>
              <a:gd name="T28" fmla="*/ 59 w 339"/>
              <a:gd name="T29" fmla="*/ 204 h 204"/>
              <a:gd name="T30" fmla="*/ 95 w 339"/>
              <a:gd name="T31" fmla="*/ 168 h 204"/>
              <a:gd name="T32" fmla="*/ 63 w 339"/>
              <a:gd name="T33" fmla="*/ 0 h 204"/>
              <a:gd name="T34" fmla="*/ 10 w 339"/>
              <a:gd name="T35" fmla="*/ 105 h 204"/>
              <a:gd name="T36" fmla="*/ 0 w 339"/>
              <a:gd name="T37" fmla="*/ 139 h 204"/>
              <a:gd name="T38" fmla="*/ 24 w 339"/>
              <a:gd name="T39" fmla="*/ 178 h 204"/>
              <a:gd name="T40" fmla="*/ 271 w 339"/>
              <a:gd name="T41" fmla="*/ 70 h 204"/>
              <a:gd name="T42" fmla="*/ 222 w 339"/>
              <a:gd name="T43" fmla="*/ 15 h 204"/>
              <a:gd name="T44" fmla="*/ 194 w 339"/>
              <a:gd name="T45" fmla="*/ 0 h 204"/>
              <a:gd name="T46" fmla="*/ 37 w 339"/>
              <a:gd name="T47" fmla="*/ 0 h 204"/>
              <a:gd name="T48" fmla="*/ 227 w 339"/>
              <a:gd name="T49" fmla="*/ 182 h 204"/>
              <a:gd name="T50" fmla="*/ 92 w 339"/>
              <a:gd name="T51" fmla="*/ 182 h 204"/>
              <a:gd name="T52" fmla="*/ 134 w 339"/>
              <a:gd name="T53" fmla="*/ 182 h 204"/>
              <a:gd name="T54" fmla="*/ 134 w 339"/>
              <a:gd name="T55"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9" h="204">
                <a:moveTo>
                  <a:pt x="27" y="70"/>
                </a:moveTo>
                <a:cubicBezTo>
                  <a:pt x="287" y="70"/>
                  <a:pt x="287" y="70"/>
                  <a:pt x="287" y="70"/>
                </a:cubicBezTo>
                <a:cubicBezTo>
                  <a:pt x="316" y="70"/>
                  <a:pt x="339" y="94"/>
                  <a:pt x="339" y="122"/>
                </a:cubicBezTo>
                <a:cubicBezTo>
                  <a:pt x="339" y="160"/>
                  <a:pt x="339" y="160"/>
                  <a:pt x="339" y="160"/>
                </a:cubicBezTo>
                <a:cubicBezTo>
                  <a:pt x="339" y="172"/>
                  <a:pt x="330" y="182"/>
                  <a:pt x="318" y="182"/>
                </a:cubicBezTo>
                <a:cubicBezTo>
                  <a:pt x="294" y="182"/>
                  <a:pt x="294" y="182"/>
                  <a:pt x="294" y="182"/>
                </a:cubicBezTo>
                <a:moveTo>
                  <a:pt x="297" y="168"/>
                </a:moveTo>
                <a:cubicBezTo>
                  <a:pt x="297" y="148"/>
                  <a:pt x="281" y="131"/>
                  <a:pt x="261" y="131"/>
                </a:cubicBezTo>
                <a:cubicBezTo>
                  <a:pt x="241" y="131"/>
                  <a:pt x="224" y="148"/>
                  <a:pt x="224" y="168"/>
                </a:cubicBezTo>
                <a:cubicBezTo>
                  <a:pt x="224" y="188"/>
                  <a:pt x="241" y="204"/>
                  <a:pt x="261" y="204"/>
                </a:cubicBezTo>
                <a:cubicBezTo>
                  <a:pt x="281" y="204"/>
                  <a:pt x="297" y="188"/>
                  <a:pt x="297" y="168"/>
                </a:cubicBezTo>
                <a:close/>
                <a:moveTo>
                  <a:pt x="95" y="168"/>
                </a:moveTo>
                <a:cubicBezTo>
                  <a:pt x="95" y="148"/>
                  <a:pt x="79" y="131"/>
                  <a:pt x="59" y="131"/>
                </a:cubicBezTo>
                <a:cubicBezTo>
                  <a:pt x="39" y="131"/>
                  <a:pt x="22" y="148"/>
                  <a:pt x="22" y="168"/>
                </a:cubicBezTo>
                <a:cubicBezTo>
                  <a:pt x="22" y="188"/>
                  <a:pt x="39" y="204"/>
                  <a:pt x="59" y="204"/>
                </a:cubicBezTo>
                <a:cubicBezTo>
                  <a:pt x="79" y="204"/>
                  <a:pt x="95" y="188"/>
                  <a:pt x="95" y="168"/>
                </a:cubicBezTo>
                <a:close/>
                <a:moveTo>
                  <a:pt x="63" y="0"/>
                </a:moveTo>
                <a:cubicBezTo>
                  <a:pt x="63" y="0"/>
                  <a:pt x="20" y="84"/>
                  <a:pt x="10" y="105"/>
                </a:cubicBezTo>
                <a:cubicBezTo>
                  <a:pt x="0" y="127"/>
                  <a:pt x="0" y="139"/>
                  <a:pt x="0" y="139"/>
                </a:cubicBezTo>
                <a:cubicBezTo>
                  <a:pt x="0" y="154"/>
                  <a:pt x="9" y="173"/>
                  <a:pt x="24" y="178"/>
                </a:cubicBezTo>
                <a:moveTo>
                  <a:pt x="271" y="70"/>
                </a:moveTo>
                <a:cubicBezTo>
                  <a:pt x="222" y="15"/>
                  <a:pt x="222" y="15"/>
                  <a:pt x="222" y="15"/>
                </a:cubicBezTo>
                <a:cubicBezTo>
                  <a:pt x="214" y="5"/>
                  <a:pt x="206" y="0"/>
                  <a:pt x="194" y="0"/>
                </a:cubicBezTo>
                <a:cubicBezTo>
                  <a:pt x="37" y="0"/>
                  <a:pt x="37" y="0"/>
                  <a:pt x="37" y="0"/>
                </a:cubicBezTo>
                <a:moveTo>
                  <a:pt x="227" y="182"/>
                </a:moveTo>
                <a:cubicBezTo>
                  <a:pt x="92" y="182"/>
                  <a:pt x="92" y="182"/>
                  <a:pt x="92" y="182"/>
                </a:cubicBezTo>
                <a:moveTo>
                  <a:pt x="134" y="182"/>
                </a:moveTo>
                <a:cubicBezTo>
                  <a:pt x="134" y="0"/>
                  <a:pt x="134" y="0"/>
                  <a:pt x="134" y="0"/>
                </a:cubicBezTo>
              </a:path>
            </a:pathLst>
          </a:custGeom>
          <a:noFill/>
          <a:ln w="57150">
            <a:solidFill>
              <a:schemeClr val="accent1"/>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4" name="Title 3">
            <a:extLst>
              <a:ext uri="{FF2B5EF4-FFF2-40B4-BE49-F238E27FC236}">
                <a16:creationId xmlns:a16="http://schemas.microsoft.com/office/drawing/2014/main" id="{035693D4-FD57-41B5-995B-476C4411F258}"/>
              </a:ext>
            </a:extLst>
          </p:cNvPr>
          <p:cNvSpPr>
            <a:spLocks noGrp="1"/>
          </p:cNvSpPr>
          <p:nvPr>
            <p:ph type="title"/>
          </p:nvPr>
        </p:nvSpPr>
        <p:spPr>
          <a:xfrm>
            <a:off x="836245" y="463942"/>
            <a:ext cx="10676125" cy="758022"/>
          </a:xfrm>
        </p:spPr>
        <p:txBody>
          <a:bodyPr/>
          <a:lstStyle/>
          <a:p>
            <a:r>
              <a:rPr lang="en-US">
                <a:latin typeface="Segoe UI Light" panose="020B0502040204020203" pitchFamily="34" charset="0"/>
                <a:cs typeface="Segoe UI Light" panose="020B0502040204020203" pitchFamily="34" charset="0"/>
              </a:rPr>
              <a:t>Machine Learning Problem Example</a:t>
            </a:r>
            <a:br>
              <a:rPr lang="en-US"/>
            </a:br>
            <a:endParaRPr lang="en-US" sz="2000" spc="0">
              <a:ln>
                <a:noFill/>
              </a:ln>
              <a:solidFill>
                <a:schemeClr val="tx2"/>
              </a:solidFill>
              <a:latin typeface="Segoe UI Semibold"/>
            </a:endParaRPr>
          </a:p>
        </p:txBody>
      </p:sp>
    </p:spTree>
    <p:extLst>
      <p:ext uri="{BB962C8B-B14F-4D97-AF65-F5344CB8AC3E}">
        <p14:creationId xmlns:p14="http://schemas.microsoft.com/office/powerpoint/2010/main" val="2014225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childTnLst>
                                    </p:cTn>
                                  </p:par>
                                  <p:par>
                                    <p:cTn id="8" presetID="2" presetClass="entr" presetSubtype="8" accel="6667" fill="hold" grpId="0" nodeType="withEffect" p14:presetBounceEnd="35000">
                                      <p:stCondLst>
                                        <p:cond delay="0"/>
                                      </p:stCondLst>
                                      <p:childTnLst>
                                        <p:set>
                                          <p:cBhvr>
                                            <p:cTn id="9" dur="1" fill="hold">
                                              <p:stCondLst>
                                                <p:cond delay="0"/>
                                              </p:stCondLst>
                                            </p:cTn>
                                            <p:tgtEl>
                                              <p:spTgt spid="5"/>
                                            </p:tgtEl>
                                            <p:attrNameLst>
                                              <p:attrName>style.visibility</p:attrName>
                                            </p:attrNameLst>
                                          </p:cBhvr>
                                          <p:to>
                                            <p:strVal val="visible"/>
                                          </p:to>
                                        </p:set>
                                        <p:anim calcmode="lin" valueType="num" p14:bounceEnd="35000">
                                          <p:cBhvr additive="base">
                                            <p:cTn id="10" dur="750" fill="hold"/>
                                            <p:tgtEl>
                                              <p:spTgt spid="5"/>
                                            </p:tgtEl>
                                            <p:attrNameLst>
                                              <p:attrName>ppt_x</p:attrName>
                                            </p:attrNameLst>
                                          </p:cBhvr>
                                          <p:tavLst>
                                            <p:tav tm="0">
                                              <p:val>
                                                <p:strVal val="0-#ppt_w/2"/>
                                              </p:val>
                                            </p:tav>
                                            <p:tav tm="100000">
                                              <p:val>
                                                <p:strVal val="#ppt_x"/>
                                              </p:val>
                                            </p:tav>
                                          </p:tavLst>
                                        </p:anim>
                                        <p:anim calcmode="lin" valueType="num" p14:bounceEnd="35000">
                                          <p:cBhvr additive="base">
                                            <p:cTn id="11" dur="75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5"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childTnLst>
                                    </p:cTn>
                                  </p:par>
                                  <p:par>
                                    <p:cTn id="8" presetID="2" presetClass="entr" presetSubtype="8" accel="6667"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 calcmode="lin" valueType="num">
                                          <p:cBhvr additive="base">
                                            <p:cTn id="10" dur="750" fill="hold"/>
                                            <p:tgtEl>
                                              <p:spTgt spid="5"/>
                                            </p:tgtEl>
                                            <p:attrNameLst>
                                              <p:attrName>ppt_x</p:attrName>
                                            </p:attrNameLst>
                                          </p:cBhvr>
                                          <p:tavLst>
                                            <p:tav tm="0">
                                              <p:val>
                                                <p:strVal val="0-#ppt_w/2"/>
                                              </p:val>
                                            </p:tav>
                                            <p:tav tm="100000">
                                              <p:val>
                                                <p:strVal val="#ppt_x"/>
                                              </p:val>
                                            </p:tav>
                                          </p:tavLst>
                                        </p:anim>
                                        <p:anim calcmode="lin" valueType="num">
                                          <p:cBhvr additive="base">
                                            <p:cTn id="11" dur="75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5" grpId="0" animBg="1"/>
        </p:bldLst>
      </p:timing>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Title 2"/>
          <p:cNvSpPr>
            <a:spLocks noGrp="1"/>
          </p:cNvSpPr>
          <p:nvPr>
            <p:ph type="title"/>
          </p:nvPr>
        </p:nvSpPr>
        <p:spPr>
          <a:xfrm>
            <a:off x="735754" y="339959"/>
            <a:ext cx="11128895" cy="1107996"/>
          </a:xfrm>
        </p:spPr>
        <p:txBody>
          <a:bodyPr>
            <a:noAutofit/>
          </a:bodyPr>
          <a:lstStyle/>
          <a:p>
            <a:r>
              <a:rPr lang="en-US">
                <a:latin typeface="Segoe UI Light" panose="020B0502040204020203" pitchFamily="34" charset="0"/>
                <a:cs typeface="Segoe UI Light" panose="020B0502040204020203" pitchFamily="34" charset="0"/>
              </a:rPr>
              <a:t>Model Creation Is Typically Time-Consuming</a:t>
            </a:r>
          </a:p>
        </p:txBody>
      </p:sp>
      <p:sp>
        <p:nvSpPr>
          <p:cNvPr id="6" name="Rectangle 5">
            <a:extLst>
              <a:ext uri="{FF2B5EF4-FFF2-40B4-BE49-F238E27FC236}">
                <a16:creationId xmlns:a16="http://schemas.microsoft.com/office/drawing/2014/main" id="{1168F540-B516-4595-99BE-669BAE43E877}"/>
              </a:ext>
            </a:extLst>
          </p:cNvPr>
          <p:cNvSpPr/>
          <p:nvPr/>
        </p:nvSpPr>
        <p:spPr bwMode="auto">
          <a:xfrm>
            <a:off x="735582" y="2780150"/>
            <a:ext cx="1775864" cy="21046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Mileage</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Condition</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Car brand</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Year of make</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Regulations</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a:t>
            </a:r>
          </a:p>
        </p:txBody>
      </p:sp>
      <p:sp>
        <p:nvSpPr>
          <p:cNvPr id="7" name="Rectangle 6">
            <a:extLst>
              <a:ext uri="{FF2B5EF4-FFF2-40B4-BE49-F238E27FC236}">
                <a16:creationId xmlns:a16="http://schemas.microsoft.com/office/drawing/2014/main" id="{6EA458CC-0786-48FB-A64B-B427CE24316B}"/>
              </a:ext>
            </a:extLst>
          </p:cNvPr>
          <p:cNvSpPr/>
          <p:nvPr/>
        </p:nvSpPr>
        <p:spPr bwMode="auto">
          <a:xfrm>
            <a:off x="5577476" y="2780150"/>
            <a:ext cx="1371644" cy="175067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Parameter 1</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Parameter 2</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Parameter 3</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Parameter 4</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a:t>
            </a:r>
          </a:p>
        </p:txBody>
      </p:sp>
      <p:sp>
        <p:nvSpPr>
          <p:cNvPr id="9" name="Rectangle 8">
            <a:extLst>
              <a:ext uri="{FF2B5EF4-FFF2-40B4-BE49-F238E27FC236}">
                <a16:creationId xmlns:a16="http://schemas.microsoft.com/office/drawing/2014/main" id="{8613D47F-F817-488D-A5C9-E311626DB096}"/>
              </a:ext>
            </a:extLst>
          </p:cNvPr>
          <p:cNvSpPr/>
          <p:nvPr/>
        </p:nvSpPr>
        <p:spPr bwMode="auto">
          <a:xfrm>
            <a:off x="3084711" y="2780150"/>
            <a:ext cx="2281590" cy="21046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Gradient Boosted  </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Nearest Neighbors </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SVM</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Bayesian Regression</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LGBM </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a:t>
            </a:r>
          </a:p>
        </p:txBody>
      </p:sp>
      <p:sp>
        <p:nvSpPr>
          <p:cNvPr id="11" name="Rectangle 10">
            <a:extLst>
              <a:ext uri="{FF2B5EF4-FFF2-40B4-BE49-F238E27FC236}">
                <a16:creationId xmlns:a16="http://schemas.microsoft.com/office/drawing/2014/main" id="{E605D490-EE66-4928-8D25-10151ED50C5B}"/>
              </a:ext>
            </a:extLst>
          </p:cNvPr>
          <p:cNvSpPr/>
          <p:nvPr/>
        </p:nvSpPr>
        <p:spPr bwMode="auto">
          <a:xfrm>
            <a:off x="735582" y="2829079"/>
            <a:ext cx="1859572" cy="29546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rPr>
              <a:t>Mileage</a:t>
            </a:r>
          </a:p>
        </p:txBody>
      </p:sp>
      <p:sp>
        <p:nvSpPr>
          <p:cNvPr id="12" name="Rectangle 11">
            <a:extLst>
              <a:ext uri="{FF2B5EF4-FFF2-40B4-BE49-F238E27FC236}">
                <a16:creationId xmlns:a16="http://schemas.microsoft.com/office/drawing/2014/main" id="{839EEEBE-474C-4A48-8C83-5F1694ABB77B}"/>
              </a:ext>
            </a:extLst>
          </p:cNvPr>
          <p:cNvSpPr/>
          <p:nvPr/>
        </p:nvSpPr>
        <p:spPr bwMode="auto">
          <a:xfrm>
            <a:off x="3084711" y="2802580"/>
            <a:ext cx="2084214" cy="341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27432"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mn-ea"/>
                <a:cs typeface="Segoe UI Semibold" panose="020B0702040204020203" pitchFamily="34" charset="0"/>
              </a:rPr>
              <a:t>Gradient Boosted</a:t>
            </a:r>
          </a:p>
        </p:txBody>
      </p:sp>
      <p:sp>
        <p:nvSpPr>
          <p:cNvPr id="13" name="Rectangle 12">
            <a:extLst>
              <a:ext uri="{FF2B5EF4-FFF2-40B4-BE49-F238E27FC236}">
                <a16:creationId xmlns:a16="http://schemas.microsoft.com/office/drawing/2014/main" id="{6D24F1C5-AFA1-4EB9-B62D-87EF246C2E29}"/>
              </a:ext>
            </a:extLst>
          </p:cNvPr>
          <p:cNvSpPr/>
          <p:nvPr/>
        </p:nvSpPr>
        <p:spPr bwMode="auto">
          <a:xfrm>
            <a:off x="5577476" y="2780150"/>
            <a:ext cx="1669661" cy="175067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Criterion</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Loss</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Min Samples Split</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Min Samples Leaf</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Others</a:t>
            </a:r>
          </a:p>
        </p:txBody>
      </p:sp>
      <p:grpSp>
        <p:nvGrpSpPr>
          <p:cNvPr id="14" name="Group 13">
            <a:extLst>
              <a:ext uri="{FF2B5EF4-FFF2-40B4-BE49-F238E27FC236}">
                <a16:creationId xmlns:a16="http://schemas.microsoft.com/office/drawing/2014/main" id="{EB7F8B3D-BA5D-451F-A1DB-80D9356B9AD0}"/>
              </a:ext>
            </a:extLst>
          </p:cNvPr>
          <p:cNvGrpSpPr/>
          <p:nvPr/>
        </p:nvGrpSpPr>
        <p:grpSpPr>
          <a:xfrm>
            <a:off x="7295059" y="2893312"/>
            <a:ext cx="1450614" cy="147003"/>
            <a:chOff x="8120217" y="3558128"/>
            <a:chExt cx="1940664" cy="147003"/>
          </a:xfrm>
        </p:grpSpPr>
        <p:cxnSp>
          <p:nvCxnSpPr>
            <p:cNvPr id="15" name="Straight Connector 14">
              <a:extLst>
                <a:ext uri="{FF2B5EF4-FFF2-40B4-BE49-F238E27FC236}">
                  <a16:creationId xmlns:a16="http://schemas.microsoft.com/office/drawing/2014/main" id="{36E66D7F-221D-4A0D-A9EC-9E8497E2AEAA}"/>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F721B48-8884-4907-8896-F0A5619E29E6}"/>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570DBDBC-C4D7-4D6E-9975-A40CD248796E}"/>
                </a:ext>
              </a:extLst>
            </p:cNvPr>
            <p:cNvGrpSpPr/>
            <p:nvPr/>
          </p:nvGrpSpPr>
          <p:grpSpPr>
            <a:xfrm>
              <a:off x="8335846" y="3593256"/>
              <a:ext cx="1509402" cy="111875"/>
              <a:chOff x="8335846" y="3498555"/>
              <a:chExt cx="1509402" cy="206573"/>
            </a:xfrm>
          </p:grpSpPr>
          <p:cxnSp>
            <p:nvCxnSpPr>
              <p:cNvPr id="18" name="Straight Connector 17">
                <a:extLst>
                  <a:ext uri="{FF2B5EF4-FFF2-40B4-BE49-F238E27FC236}">
                    <a16:creationId xmlns:a16="http://schemas.microsoft.com/office/drawing/2014/main" id="{33F4E9F9-A7BB-417B-B7D8-44E513C1E35E}"/>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C4471F8A-A6FF-478F-B21C-16B27F79EA16}"/>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87BD7BAD-A456-4CDA-AAF2-5B28F66CF7AC}"/>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D93968D-4ED1-4D98-BC02-7CE789FA38B2}"/>
                  </a:ext>
                </a:extLst>
              </p:cNvPr>
              <p:cNvCxnSpPr>
                <a:cxnSpLocks/>
              </p:cNvCxnSpPr>
              <p:nvPr/>
            </p:nvCxnSpPr>
            <p:spPr>
              <a:xfrm flipV="1">
                <a:off x="8982733" y="3498555"/>
                <a:ext cx="0" cy="206573"/>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6F79CF59-778A-4310-9EAA-73FC5193DBEB}"/>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235C58FA-21CF-4D4E-8F85-D218ABD5DBD4}"/>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307C462-2E34-4B78-AF4D-6D93FF61EB7D}"/>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482B236-4337-4E82-BF42-5F3BF652CD04}"/>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26" name="Group 25">
            <a:extLst>
              <a:ext uri="{FF2B5EF4-FFF2-40B4-BE49-F238E27FC236}">
                <a16:creationId xmlns:a16="http://schemas.microsoft.com/office/drawing/2014/main" id="{AE3E6691-849A-42CE-B310-226C974D8545}"/>
              </a:ext>
            </a:extLst>
          </p:cNvPr>
          <p:cNvGrpSpPr/>
          <p:nvPr/>
        </p:nvGrpSpPr>
        <p:grpSpPr>
          <a:xfrm>
            <a:off x="7295059" y="3241014"/>
            <a:ext cx="1450614" cy="146999"/>
            <a:chOff x="8120217" y="3558128"/>
            <a:chExt cx="1940664" cy="146999"/>
          </a:xfrm>
        </p:grpSpPr>
        <p:cxnSp>
          <p:nvCxnSpPr>
            <p:cNvPr id="27" name="Straight Connector 26">
              <a:extLst>
                <a:ext uri="{FF2B5EF4-FFF2-40B4-BE49-F238E27FC236}">
                  <a16:creationId xmlns:a16="http://schemas.microsoft.com/office/drawing/2014/main" id="{4A2AADB1-5ACB-4B06-8960-DA5B2CBA9577}"/>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B971EAF7-2482-48BE-B9D1-ED930A7D5255}"/>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1B140EAB-319E-4A3D-BADD-1487F2A8610F}"/>
                </a:ext>
              </a:extLst>
            </p:cNvPr>
            <p:cNvGrpSpPr/>
            <p:nvPr/>
          </p:nvGrpSpPr>
          <p:grpSpPr>
            <a:xfrm>
              <a:off x="8335846" y="3592140"/>
              <a:ext cx="1509402" cy="112986"/>
              <a:chOff x="8335846" y="3496504"/>
              <a:chExt cx="1509402" cy="208625"/>
            </a:xfrm>
          </p:grpSpPr>
          <p:cxnSp>
            <p:nvCxnSpPr>
              <p:cNvPr id="31" name="Straight Connector 30">
                <a:extLst>
                  <a:ext uri="{FF2B5EF4-FFF2-40B4-BE49-F238E27FC236}">
                    <a16:creationId xmlns:a16="http://schemas.microsoft.com/office/drawing/2014/main" id="{E00BEBDB-ED9F-4CF4-86F8-6932A394656B}"/>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85136C-A8BF-418A-AC51-79F632211548}"/>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ED7CE1A0-DB70-4794-98EC-7F2367C9D904}"/>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FE2E449-5E21-4074-AE06-FFA79787AFB8}"/>
                  </a:ext>
                </a:extLst>
              </p:cNvPr>
              <p:cNvCxnSpPr>
                <a:cxnSpLocks/>
              </p:cNvCxnSpPr>
              <p:nvPr/>
            </p:nvCxnSpPr>
            <p:spPr>
              <a:xfrm flipV="1">
                <a:off x="8982733" y="3496504"/>
                <a:ext cx="0" cy="208625"/>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7693B8E-21A1-4B6A-B15E-5563F05446DF}"/>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48085440-B678-4A53-91EA-F68A0F5D3ABF}"/>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3ECADAF9-6666-4671-8DF5-6C4B0902B046}"/>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DF39F7B7-30CE-40EC-BD52-084CB961FCF6}"/>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40" name="Group 39">
            <a:extLst>
              <a:ext uri="{FF2B5EF4-FFF2-40B4-BE49-F238E27FC236}">
                <a16:creationId xmlns:a16="http://schemas.microsoft.com/office/drawing/2014/main" id="{42862650-122D-478D-A643-4F78F1CFC9AD}"/>
              </a:ext>
            </a:extLst>
          </p:cNvPr>
          <p:cNvGrpSpPr/>
          <p:nvPr/>
        </p:nvGrpSpPr>
        <p:grpSpPr>
          <a:xfrm>
            <a:off x="7295059" y="3588712"/>
            <a:ext cx="1450614" cy="147000"/>
            <a:chOff x="8120217" y="3558128"/>
            <a:chExt cx="1940664" cy="147000"/>
          </a:xfrm>
        </p:grpSpPr>
        <p:cxnSp>
          <p:nvCxnSpPr>
            <p:cNvPr id="41" name="Straight Connector 40">
              <a:extLst>
                <a:ext uri="{FF2B5EF4-FFF2-40B4-BE49-F238E27FC236}">
                  <a16:creationId xmlns:a16="http://schemas.microsoft.com/office/drawing/2014/main" id="{9D607C2D-C5DF-442D-8A48-59D656A91493}"/>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DA20C60-AB0F-478B-8CA7-BFE6B3F9DBD4}"/>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44" name="Group 43">
              <a:extLst>
                <a:ext uri="{FF2B5EF4-FFF2-40B4-BE49-F238E27FC236}">
                  <a16:creationId xmlns:a16="http://schemas.microsoft.com/office/drawing/2014/main" id="{D0211F3B-8C0B-4A97-9EA8-D67A0CB21FF3}"/>
                </a:ext>
              </a:extLst>
            </p:cNvPr>
            <p:cNvGrpSpPr/>
            <p:nvPr/>
          </p:nvGrpSpPr>
          <p:grpSpPr>
            <a:xfrm>
              <a:off x="8335846" y="3593752"/>
              <a:ext cx="1509402" cy="111376"/>
              <a:chOff x="8335846" y="3499477"/>
              <a:chExt cx="1509402" cy="205652"/>
            </a:xfrm>
          </p:grpSpPr>
          <p:cxnSp>
            <p:nvCxnSpPr>
              <p:cNvPr id="45" name="Straight Connector 44">
                <a:extLst>
                  <a:ext uri="{FF2B5EF4-FFF2-40B4-BE49-F238E27FC236}">
                    <a16:creationId xmlns:a16="http://schemas.microsoft.com/office/drawing/2014/main" id="{7F1B9279-5D72-436B-AA70-8DE4EE1BA9C3}"/>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3EFC06FA-2399-48C8-B905-D7338CDD3CDC}"/>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F4B3B114-19EA-47E8-BE1A-AABBCF4D4F21}"/>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F817593F-BEB3-4069-B7AD-0436D92788C8}"/>
                  </a:ext>
                </a:extLst>
              </p:cNvPr>
              <p:cNvCxnSpPr>
                <a:cxnSpLocks/>
              </p:cNvCxnSpPr>
              <p:nvPr/>
            </p:nvCxnSpPr>
            <p:spPr>
              <a:xfrm flipV="1">
                <a:off x="8982733" y="3499477"/>
                <a:ext cx="0" cy="205652"/>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7A67F6FE-9B8F-4A1B-A058-5414093A731F}"/>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B9F0A976-453B-463F-91D6-0C611B815CBC}"/>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E565DDC2-7B47-4B83-A0FB-2DC7C7C8BC1B}"/>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1D3691DC-B356-4D59-99E2-0970AE2C758A}"/>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53" name="Group 52">
            <a:extLst>
              <a:ext uri="{FF2B5EF4-FFF2-40B4-BE49-F238E27FC236}">
                <a16:creationId xmlns:a16="http://schemas.microsoft.com/office/drawing/2014/main" id="{B4CEA875-FCA7-44FB-A4C6-37F4D145A96D}"/>
              </a:ext>
            </a:extLst>
          </p:cNvPr>
          <p:cNvGrpSpPr/>
          <p:nvPr/>
        </p:nvGrpSpPr>
        <p:grpSpPr>
          <a:xfrm>
            <a:off x="7295059" y="3936411"/>
            <a:ext cx="1450614" cy="147002"/>
            <a:chOff x="8120217" y="3558128"/>
            <a:chExt cx="1940664" cy="147002"/>
          </a:xfrm>
        </p:grpSpPr>
        <p:cxnSp>
          <p:nvCxnSpPr>
            <p:cNvPr id="54" name="Straight Connector 53">
              <a:extLst>
                <a:ext uri="{FF2B5EF4-FFF2-40B4-BE49-F238E27FC236}">
                  <a16:creationId xmlns:a16="http://schemas.microsoft.com/office/drawing/2014/main" id="{B967AD7B-F52F-4B1F-B557-CDADFF492C20}"/>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2E85ECC0-806C-4FB5-AAC3-F83E14B7B514}"/>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56" name="Group 55">
              <a:extLst>
                <a:ext uri="{FF2B5EF4-FFF2-40B4-BE49-F238E27FC236}">
                  <a16:creationId xmlns:a16="http://schemas.microsoft.com/office/drawing/2014/main" id="{1E82DF8A-9DA7-42CE-A9D7-D153E0037A75}"/>
                </a:ext>
              </a:extLst>
            </p:cNvPr>
            <p:cNvGrpSpPr/>
            <p:nvPr/>
          </p:nvGrpSpPr>
          <p:grpSpPr>
            <a:xfrm>
              <a:off x="8335846" y="3595364"/>
              <a:ext cx="1509402" cy="109766"/>
              <a:chOff x="8335846" y="3502450"/>
              <a:chExt cx="1509402" cy="202679"/>
            </a:xfrm>
          </p:grpSpPr>
          <p:cxnSp>
            <p:nvCxnSpPr>
              <p:cNvPr id="57" name="Straight Connector 56">
                <a:extLst>
                  <a:ext uri="{FF2B5EF4-FFF2-40B4-BE49-F238E27FC236}">
                    <a16:creationId xmlns:a16="http://schemas.microsoft.com/office/drawing/2014/main" id="{B49411CB-20CD-4961-BCEF-F473BF9DE50E}"/>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C03961EE-4D11-41B0-A80C-6F74F6E972D2}"/>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7EB82067-4994-4ABF-9DFE-E6EDD20ACAD8}"/>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13EC73D7-0229-49D8-9310-B919F1C32BD2}"/>
                  </a:ext>
                </a:extLst>
              </p:cNvPr>
              <p:cNvCxnSpPr>
                <a:cxnSpLocks/>
              </p:cNvCxnSpPr>
              <p:nvPr/>
            </p:nvCxnSpPr>
            <p:spPr>
              <a:xfrm flipV="1">
                <a:off x="8982733" y="3502450"/>
                <a:ext cx="0" cy="20267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6EB320E5-A7E5-43E0-B8AA-F97D163948B3}"/>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0048D1FB-D453-418E-825B-CD0FE7434ECD}"/>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029C819F-C82D-4546-96FF-9F6354F14FA0}"/>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D438182D-82AE-4512-8139-D435A9D2FB23}"/>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66" name="Isosceles Triangle 65">
            <a:extLst>
              <a:ext uri="{FF2B5EF4-FFF2-40B4-BE49-F238E27FC236}">
                <a16:creationId xmlns:a16="http://schemas.microsoft.com/office/drawing/2014/main" id="{B0DD8EC6-0046-4274-B5A9-B81B57C48785}"/>
              </a:ext>
            </a:extLst>
          </p:cNvPr>
          <p:cNvSpPr/>
          <p:nvPr/>
        </p:nvSpPr>
        <p:spPr bwMode="auto">
          <a:xfrm>
            <a:off x="7227837" y="2948871"/>
            <a:ext cx="137160" cy="9144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7" name="Isosceles Triangle 66">
            <a:extLst>
              <a:ext uri="{FF2B5EF4-FFF2-40B4-BE49-F238E27FC236}">
                <a16:creationId xmlns:a16="http://schemas.microsoft.com/office/drawing/2014/main" id="{B25060C6-9AA8-42B4-9FAE-2F09F4C71448}"/>
              </a:ext>
            </a:extLst>
          </p:cNvPr>
          <p:cNvSpPr/>
          <p:nvPr/>
        </p:nvSpPr>
        <p:spPr bwMode="auto">
          <a:xfrm>
            <a:off x="7227837" y="3296571"/>
            <a:ext cx="137160" cy="9144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 name="Isosceles Triangle 67">
            <a:extLst>
              <a:ext uri="{FF2B5EF4-FFF2-40B4-BE49-F238E27FC236}">
                <a16:creationId xmlns:a16="http://schemas.microsoft.com/office/drawing/2014/main" id="{3DD55A1A-0126-4F4B-8DAB-7170E3312892}"/>
              </a:ext>
            </a:extLst>
          </p:cNvPr>
          <p:cNvSpPr/>
          <p:nvPr/>
        </p:nvSpPr>
        <p:spPr bwMode="auto">
          <a:xfrm>
            <a:off x="7227837" y="3644271"/>
            <a:ext cx="137160" cy="9144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 name="Isosceles Triangle 68">
            <a:extLst>
              <a:ext uri="{FF2B5EF4-FFF2-40B4-BE49-F238E27FC236}">
                <a16:creationId xmlns:a16="http://schemas.microsoft.com/office/drawing/2014/main" id="{D4F56831-466C-490B-994D-C4E766A67456}"/>
              </a:ext>
            </a:extLst>
          </p:cNvPr>
          <p:cNvSpPr/>
          <p:nvPr/>
        </p:nvSpPr>
        <p:spPr bwMode="auto">
          <a:xfrm>
            <a:off x="7227837" y="3991970"/>
            <a:ext cx="137160" cy="9144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Rectangle 72">
            <a:extLst>
              <a:ext uri="{FF2B5EF4-FFF2-40B4-BE49-F238E27FC236}">
                <a16:creationId xmlns:a16="http://schemas.microsoft.com/office/drawing/2014/main" id="{8073F30B-1B75-468A-9E11-233BEF8B686E}"/>
              </a:ext>
            </a:extLst>
          </p:cNvPr>
          <p:cNvSpPr/>
          <p:nvPr/>
        </p:nvSpPr>
        <p:spPr bwMode="auto">
          <a:xfrm>
            <a:off x="9571688" y="3743449"/>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30%</a:t>
            </a:r>
          </a:p>
        </p:txBody>
      </p:sp>
      <p:sp>
        <p:nvSpPr>
          <p:cNvPr id="74" name="TextBox 73">
            <a:extLst>
              <a:ext uri="{FF2B5EF4-FFF2-40B4-BE49-F238E27FC236}">
                <a16:creationId xmlns:a16="http://schemas.microsoft.com/office/drawing/2014/main" id="{5819BF1A-393F-4DC0-AAFF-F23D33A65562}"/>
              </a:ext>
            </a:extLst>
          </p:cNvPr>
          <p:cNvSpPr txBox="1"/>
          <p:nvPr/>
        </p:nvSpPr>
        <p:spPr>
          <a:xfrm>
            <a:off x="9616019" y="4218340"/>
            <a:ext cx="564577" cy="237757"/>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a:ln>
                  <a:noFill/>
                </a:ln>
                <a:solidFill>
                  <a:srgbClr val="0078D4"/>
                </a:solidFill>
                <a:effectLst/>
                <a:uLnTx/>
                <a:uFillTx/>
                <a:latin typeface="Segoe UI"/>
                <a:ea typeface="+mn-ea"/>
                <a:cs typeface="+mn-cs"/>
              </a:rPr>
              <a:t>Model</a:t>
            </a:r>
          </a:p>
        </p:txBody>
      </p:sp>
      <p:sp>
        <p:nvSpPr>
          <p:cNvPr id="75" name="Diamond 3">
            <a:extLst>
              <a:ext uri="{FF2B5EF4-FFF2-40B4-BE49-F238E27FC236}">
                <a16:creationId xmlns:a16="http://schemas.microsoft.com/office/drawing/2014/main" id="{59BED6B8-E637-4542-88C4-C688B7867D90}"/>
              </a:ext>
            </a:extLst>
          </p:cNvPr>
          <p:cNvSpPr/>
          <p:nvPr/>
        </p:nvSpPr>
        <p:spPr bwMode="auto">
          <a:xfrm>
            <a:off x="8982518" y="2767649"/>
            <a:ext cx="323919" cy="2410590"/>
          </a:xfrm>
          <a:custGeom>
            <a:avLst/>
            <a:gdLst>
              <a:gd name="connsiteX0" fmla="*/ 0 w 594505"/>
              <a:gd name="connsiteY0" fmla="*/ 509452 h 1018903"/>
              <a:gd name="connsiteX1" fmla="*/ 297253 w 594505"/>
              <a:gd name="connsiteY1" fmla="*/ 0 h 1018903"/>
              <a:gd name="connsiteX2" fmla="*/ 594505 w 594505"/>
              <a:gd name="connsiteY2" fmla="*/ 509452 h 1018903"/>
              <a:gd name="connsiteX3" fmla="*/ 297253 w 594505"/>
              <a:gd name="connsiteY3" fmla="*/ 1018903 h 1018903"/>
              <a:gd name="connsiteX4" fmla="*/ 0 w 594505"/>
              <a:gd name="connsiteY4" fmla="*/ 509452 h 1018903"/>
              <a:gd name="connsiteX0" fmla="*/ 0 w 594505"/>
              <a:gd name="connsiteY0" fmla="*/ 509452 h 1018903"/>
              <a:gd name="connsiteX1" fmla="*/ 297253 w 594505"/>
              <a:gd name="connsiteY1" fmla="*/ 0 h 1018903"/>
              <a:gd name="connsiteX2" fmla="*/ 594505 w 594505"/>
              <a:gd name="connsiteY2" fmla="*/ 509452 h 1018903"/>
              <a:gd name="connsiteX3" fmla="*/ 297253 w 594505"/>
              <a:gd name="connsiteY3" fmla="*/ 1018903 h 1018903"/>
              <a:gd name="connsiteX4" fmla="*/ 91440 w 594505"/>
              <a:gd name="connsiteY4" fmla="*/ 600892 h 1018903"/>
              <a:gd name="connsiteX0" fmla="*/ 0 w 594505"/>
              <a:gd name="connsiteY0" fmla="*/ 509452 h 1018903"/>
              <a:gd name="connsiteX1" fmla="*/ 297253 w 594505"/>
              <a:gd name="connsiteY1" fmla="*/ 0 h 1018903"/>
              <a:gd name="connsiteX2" fmla="*/ 594505 w 594505"/>
              <a:gd name="connsiteY2" fmla="*/ 509452 h 1018903"/>
              <a:gd name="connsiteX3" fmla="*/ 297253 w 594505"/>
              <a:gd name="connsiteY3" fmla="*/ 1018903 h 1018903"/>
              <a:gd name="connsiteX0" fmla="*/ 0 w 297252"/>
              <a:gd name="connsiteY0" fmla="*/ 0 h 1018903"/>
              <a:gd name="connsiteX1" fmla="*/ 297252 w 297252"/>
              <a:gd name="connsiteY1" fmla="*/ 509452 h 1018903"/>
              <a:gd name="connsiteX2" fmla="*/ 0 w 297252"/>
              <a:gd name="connsiteY2" fmla="*/ 1018903 h 1018903"/>
            </a:gdLst>
            <a:ahLst/>
            <a:cxnLst>
              <a:cxn ang="0">
                <a:pos x="connsiteX0" y="connsiteY0"/>
              </a:cxn>
              <a:cxn ang="0">
                <a:pos x="connsiteX1" y="connsiteY1"/>
              </a:cxn>
              <a:cxn ang="0">
                <a:pos x="connsiteX2" y="connsiteY2"/>
              </a:cxn>
            </a:cxnLst>
            <a:rect l="l" t="t" r="r" b="b"/>
            <a:pathLst>
              <a:path w="297252" h="1018903">
                <a:moveTo>
                  <a:pt x="0" y="0"/>
                </a:moveTo>
                <a:lnTo>
                  <a:pt x="297252" y="509452"/>
                </a:lnTo>
                <a:lnTo>
                  <a:pt x="0" y="1018903"/>
                </a:lnTo>
              </a:path>
            </a:pathLst>
          </a:custGeom>
          <a:ln w="12700">
            <a:solidFill>
              <a:schemeClr val="tx2"/>
            </a:solidFill>
            <a:headEnd type="none"/>
            <a:tailEnd type="none"/>
          </a:ln>
        </p:spPr>
        <p:style>
          <a:lnRef idx="1">
            <a:schemeClr val="accent4"/>
          </a:lnRef>
          <a:fillRef idx="0">
            <a:schemeClr val="accent4"/>
          </a:fillRef>
          <a:effectRef idx="0">
            <a:schemeClr val="accent4"/>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0" name="Group 99">
            <a:extLst>
              <a:ext uri="{FF2B5EF4-FFF2-40B4-BE49-F238E27FC236}">
                <a16:creationId xmlns:a16="http://schemas.microsoft.com/office/drawing/2014/main" id="{DE726EF7-D1FA-4062-B4C5-9B6733D5C31E}"/>
              </a:ext>
            </a:extLst>
          </p:cNvPr>
          <p:cNvGrpSpPr/>
          <p:nvPr/>
        </p:nvGrpSpPr>
        <p:grpSpPr>
          <a:xfrm>
            <a:off x="2469759" y="2268043"/>
            <a:ext cx="7252482" cy="341632"/>
            <a:chOff x="735582" y="2268043"/>
            <a:chExt cx="7252482" cy="341632"/>
          </a:xfrm>
        </p:grpSpPr>
        <p:sp>
          <p:nvSpPr>
            <p:cNvPr id="101" name="Rectangle 100">
              <a:extLst>
                <a:ext uri="{FF2B5EF4-FFF2-40B4-BE49-F238E27FC236}">
                  <a16:creationId xmlns:a16="http://schemas.microsoft.com/office/drawing/2014/main" id="{324E18D1-6B94-4650-90E2-157E1950682B}"/>
                </a:ext>
              </a:extLst>
            </p:cNvPr>
            <p:cNvSpPr/>
            <p:nvPr/>
          </p:nvSpPr>
          <p:spPr bwMode="auto">
            <a:xfrm>
              <a:off x="3084709" y="2268043"/>
              <a:ext cx="2211940" cy="3416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Which algorithm?</a:t>
              </a:r>
            </a:p>
          </p:txBody>
        </p:sp>
        <p:sp>
          <p:nvSpPr>
            <p:cNvPr id="102" name="Rectangle 101">
              <a:extLst>
                <a:ext uri="{FF2B5EF4-FFF2-40B4-BE49-F238E27FC236}">
                  <a16:creationId xmlns:a16="http://schemas.microsoft.com/office/drawing/2014/main" id="{A3A8272B-7B63-4A7D-A68B-04789BD8FA46}"/>
                </a:ext>
              </a:extLst>
            </p:cNvPr>
            <p:cNvSpPr/>
            <p:nvPr/>
          </p:nvSpPr>
          <p:spPr bwMode="auto">
            <a:xfrm>
              <a:off x="5577476" y="2268043"/>
              <a:ext cx="2410588" cy="3416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panose="020B0702040204020203" pitchFamily="34" charset="0"/>
                  <a:ea typeface="Segoe UI" pitchFamily="34" charset="0"/>
                  <a:cs typeface="Segoe UI Semibold" panose="020B0702040204020203" pitchFamily="34" charset="0"/>
                </a:rPr>
                <a:t>Which parameters?</a:t>
              </a:r>
            </a:p>
          </p:txBody>
        </p:sp>
        <p:sp>
          <p:nvSpPr>
            <p:cNvPr id="103" name="Rectangle 102">
              <a:extLst>
                <a:ext uri="{FF2B5EF4-FFF2-40B4-BE49-F238E27FC236}">
                  <a16:creationId xmlns:a16="http://schemas.microsoft.com/office/drawing/2014/main" id="{10198808-CC0B-495A-81F7-CAE7F8DC4458}"/>
                </a:ext>
              </a:extLst>
            </p:cNvPr>
            <p:cNvSpPr/>
            <p:nvPr/>
          </p:nvSpPr>
          <p:spPr bwMode="auto">
            <a:xfrm>
              <a:off x="735582" y="2268043"/>
              <a:ext cx="2068299" cy="3416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panose="020B0702040204020203" pitchFamily="34" charset="0"/>
                  <a:ea typeface="Segoe UI" pitchFamily="34" charset="0"/>
                  <a:cs typeface="Segoe UI Semibold" panose="020B0702040204020203" pitchFamily="34" charset="0"/>
                </a:rPr>
                <a:t>Which features?</a:t>
              </a:r>
            </a:p>
          </p:txBody>
        </p:sp>
      </p:grpSp>
      <p:sp>
        <p:nvSpPr>
          <p:cNvPr id="104" name="Rectangle 103">
            <a:extLst>
              <a:ext uri="{FF2B5EF4-FFF2-40B4-BE49-F238E27FC236}">
                <a16:creationId xmlns:a16="http://schemas.microsoft.com/office/drawing/2014/main" id="{D0CF168F-2132-4758-BFE1-832832D1F6AC}"/>
              </a:ext>
            </a:extLst>
          </p:cNvPr>
          <p:cNvSpPr/>
          <p:nvPr/>
        </p:nvSpPr>
        <p:spPr bwMode="auto">
          <a:xfrm>
            <a:off x="735582" y="3528963"/>
            <a:ext cx="1859572" cy="29546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rPr>
              <a:t>Car brand</a:t>
            </a:r>
          </a:p>
        </p:txBody>
      </p:sp>
      <p:sp>
        <p:nvSpPr>
          <p:cNvPr id="105" name="Rectangle 104">
            <a:extLst>
              <a:ext uri="{FF2B5EF4-FFF2-40B4-BE49-F238E27FC236}">
                <a16:creationId xmlns:a16="http://schemas.microsoft.com/office/drawing/2014/main" id="{FD25B7A3-F9AD-4257-871B-494A13D668C1}"/>
              </a:ext>
            </a:extLst>
          </p:cNvPr>
          <p:cNvSpPr/>
          <p:nvPr/>
        </p:nvSpPr>
        <p:spPr bwMode="auto">
          <a:xfrm>
            <a:off x="735582" y="3879259"/>
            <a:ext cx="1859572" cy="29546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rPr>
              <a:t>Year of make</a:t>
            </a:r>
          </a:p>
        </p:txBody>
      </p:sp>
      <p:grpSp>
        <p:nvGrpSpPr>
          <p:cNvPr id="70" name="Group 69">
            <a:extLst>
              <a:ext uri="{FF2B5EF4-FFF2-40B4-BE49-F238E27FC236}">
                <a16:creationId xmlns:a16="http://schemas.microsoft.com/office/drawing/2014/main" id="{14AA2959-6F4C-429A-A8AB-CE521F9CDFEF}"/>
              </a:ext>
            </a:extLst>
          </p:cNvPr>
          <p:cNvGrpSpPr/>
          <p:nvPr/>
        </p:nvGrpSpPr>
        <p:grpSpPr>
          <a:xfrm>
            <a:off x="7295059" y="4281370"/>
            <a:ext cx="1450614" cy="147002"/>
            <a:chOff x="8120217" y="3558128"/>
            <a:chExt cx="1940664" cy="147002"/>
          </a:xfrm>
        </p:grpSpPr>
        <p:cxnSp>
          <p:nvCxnSpPr>
            <p:cNvPr id="71" name="Straight Connector 70">
              <a:extLst>
                <a:ext uri="{FF2B5EF4-FFF2-40B4-BE49-F238E27FC236}">
                  <a16:creationId xmlns:a16="http://schemas.microsoft.com/office/drawing/2014/main" id="{E7EC2C52-1819-4767-80A1-A75A6DFB7A87}"/>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56190086-0E14-456D-A3EA-699EEEB26E5F}"/>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76" name="Group 75">
              <a:extLst>
                <a:ext uri="{FF2B5EF4-FFF2-40B4-BE49-F238E27FC236}">
                  <a16:creationId xmlns:a16="http://schemas.microsoft.com/office/drawing/2014/main" id="{0DCDE0FC-AFB8-4AF2-968D-59AABFF9ADE3}"/>
                </a:ext>
              </a:extLst>
            </p:cNvPr>
            <p:cNvGrpSpPr/>
            <p:nvPr/>
          </p:nvGrpSpPr>
          <p:grpSpPr>
            <a:xfrm>
              <a:off x="8335846" y="3595364"/>
              <a:ext cx="1509402" cy="109766"/>
              <a:chOff x="8335846" y="3502450"/>
              <a:chExt cx="1509402" cy="202679"/>
            </a:xfrm>
          </p:grpSpPr>
          <p:cxnSp>
            <p:nvCxnSpPr>
              <p:cNvPr id="77" name="Straight Connector 76">
                <a:extLst>
                  <a:ext uri="{FF2B5EF4-FFF2-40B4-BE49-F238E27FC236}">
                    <a16:creationId xmlns:a16="http://schemas.microsoft.com/office/drawing/2014/main" id="{09E16FAD-08D0-4E8C-A18F-711C4CEECCCE}"/>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1F158C30-719E-4C2C-825D-490990D26729}"/>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ABE32757-C701-41B2-9C72-E2617C77806E}"/>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94D0AAB6-5B96-4A7F-B240-D048BDFF71DF}"/>
                  </a:ext>
                </a:extLst>
              </p:cNvPr>
              <p:cNvCxnSpPr>
                <a:cxnSpLocks/>
              </p:cNvCxnSpPr>
              <p:nvPr/>
            </p:nvCxnSpPr>
            <p:spPr>
              <a:xfrm flipV="1">
                <a:off x="8982733" y="3502450"/>
                <a:ext cx="0" cy="20267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2900AE66-D293-4436-84A1-E503410EDAC9}"/>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B70103E5-57E3-4E59-ACBC-F5BC090D6906}"/>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BD410592-BE65-46FC-BB57-A316F21EA63C}"/>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53C2D859-5A03-4D3C-BFBF-A8976DC67BEA}"/>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85" name="Isosceles Triangle 84">
            <a:extLst>
              <a:ext uri="{FF2B5EF4-FFF2-40B4-BE49-F238E27FC236}">
                <a16:creationId xmlns:a16="http://schemas.microsoft.com/office/drawing/2014/main" id="{F6F4027C-0511-46B4-9511-0BB75D5B785C}"/>
              </a:ext>
            </a:extLst>
          </p:cNvPr>
          <p:cNvSpPr/>
          <p:nvPr/>
        </p:nvSpPr>
        <p:spPr bwMode="auto">
          <a:xfrm>
            <a:off x="7227837" y="4336929"/>
            <a:ext cx="137160" cy="9144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983517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5" presetClass="path" presetSubtype="0" accel="50000" decel="50000" fill="hold" nodeType="clickEffect">
                                  <p:stCondLst>
                                    <p:cond delay="0"/>
                                  </p:stCondLst>
                                  <p:childTnLst>
                                    <p:animMotion origin="layout" path="M 0 4.44444E-6 L -0.14232 4.44444E-6 " pathEditMode="relative" rAng="0" ptsTypes="AA">
                                      <p:cBhvr>
                                        <p:cTn id="6" dur="1000" fill="hold"/>
                                        <p:tgtEl>
                                          <p:spTgt spid="100"/>
                                        </p:tgtEl>
                                        <p:attrNameLst>
                                          <p:attrName>ppt_x</p:attrName>
                                          <p:attrName>ppt_y</p:attrName>
                                        </p:attrNameLst>
                                      </p:cBhvr>
                                      <p:rCtr x="-7122" y="0"/>
                                    </p:animMotion>
                                  </p:childTnLst>
                                </p:cTn>
                              </p:par>
                            </p:childTnLst>
                          </p:cTn>
                        </p:par>
                        <p:par>
                          <p:cTn id="7" fill="hold">
                            <p:stCondLst>
                              <p:cond delay="1000"/>
                            </p:stCondLst>
                            <p:childTnLst>
                              <p:par>
                                <p:cTn id="8" presetID="22" presetClass="entr" presetSubtype="1" fill="hold" grpId="0" nodeType="after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wipe(up)">
                                      <p:cBhvr>
                                        <p:cTn id="10" dur="500"/>
                                        <p:tgtEl>
                                          <p:spTgt spid="6"/>
                                        </p:tgtEl>
                                      </p:cBhvr>
                                    </p:animEffect>
                                  </p:childTnLst>
                                </p:cTn>
                              </p:par>
                              <p:par>
                                <p:cTn id="11" presetID="22" presetClass="entr" presetSubtype="1" fill="hold" grpId="0" nodeType="withEffect">
                                  <p:stCondLst>
                                    <p:cond delay="250"/>
                                  </p:stCondLst>
                                  <p:childTnLst>
                                    <p:set>
                                      <p:cBhvr>
                                        <p:cTn id="12" dur="1" fill="hold">
                                          <p:stCondLst>
                                            <p:cond delay="0"/>
                                          </p:stCondLst>
                                        </p:cTn>
                                        <p:tgtEl>
                                          <p:spTgt spid="9"/>
                                        </p:tgtEl>
                                        <p:attrNameLst>
                                          <p:attrName>style.visibility</p:attrName>
                                        </p:attrNameLst>
                                      </p:cBhvr>
                                      <p:to>
                                        <p:strVal val="visible"/>
                                      </p:to>
                                    </p:set>
                                    <p:animEffect transition="in" filter="wipe(up)">
                                      <p:cBhvr>
                                        <p:cTn id="13" dur="500"/>
                                        <p:tgtEl>
                                          <p:spTgt spid="9"/>
                                        </p:tgtEl>
                                      </p:cBhvr>
                                    </p:animEffect>
                                  </p:childTnLst>
                                </p:cTn>
                              </p:par>
                              <p:par>
                                <p:cTn id="14" presetID="22" presetClass="entr" presetSubtype="1" fill="hold" grpId="0" nodeType="withEffect">
                                  <p:stCondLst>
                                    <p:cond delay="500"/>
                                  </p:stCondLst>
                                  <p:childTnLst>
                                    <p:set>
                                      <p:cBhvr>
                                        <p:cTn id="15" dur="1" fill="hold">
                                          <p:stCondLst>
                                            <p:cond delay="0"/>
                                          </p:stCondLst>
                                        </p:cTn>
                                        <p:tgtEl>
                                          <p:spTgt spid="7"/>
                                        </p:tgtEl>
                                        <p:attrNameLst>
                                          <p:attrName>style.visibility</p:attrName>
                                        </p:attrNameLst>
                                      </p:cBhvr>
                                      <p:to>
                                        <p:strVal val="visible"/>
                                      </p:to>
                                    </p:set>
                                    <p:animEffect transition="in" filter="wipe(up)">
                                      <p:cBhvr>
                                        <p:cTn id="16" dur="500"/>
                                        <p:tgtEl>
                                          <p:spTgt spid="7"/>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04"/>
                                        </p:tgtEl>
                                        <p:attrNameLst>
                                          <p:attrName>style.visibility</p:attrName>
                                        </p:attrNameLst>
                                      </p:cBhvr>
                                      <p:to>
                                        <p:strVal val="visible"/>
                                      </p:to>
                                    </p:set>
                                    <p:animEffect transition="in" filter="fade">
                                      <p:cBhvr>
                                        <p:cTn id="21" dur="500"/>
                                        <p:tgtEl>
                                          <p:spTgt spid="104"/>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11"/>
                                        </p:tgtEl>
                                        <p:attrNameLst>
                                          <p:attrName>style.visibility</p:attrName>
                                        </p:attrNameLst>
                                      </p:cBhvr>
                                      <p:to>
                                        <p:strVal val="visible"/>
                                      </p:to>
                                    </p:set>
                                    <p:animEffect transition="in" filter="fade">
                                      <p:cBhvr>
                                        <p:cTn id="25" dur="500"/>
                                        <p:tgtEl>
                                          <p:spTgt spid="11"/>
                                        </p:tgtEl>
                                      </p:cBhvr>
                                    </p:animEffect>
                                  </p:childTnLst>
                                </p:cTn>
                              </p:par>
                            </p:childTnLst>
                          </p:cTn>
                        </p:par>
                        <p:par>
                          <p:cTn id="26" fill="hold">
                            <p:stCondLst>
                              <p:cond delay="1000"/>
                            </p:stCondLst>
                            <p:childTnLst>
                              <p:par>
                                <p:cTn id="27" presetID="10" presetClass="entr" presetSubtype="0" fill="hold" grpId="0" nodeType="afterEffect">
                                  <p:stCondLst>
                                    <p:cond delay="0"/>
                                  </p:stCondLst>
                                  <p:childTnLst>
                                    <p:set>
                                      <p:cBhvr>
                                        <p:cTn id="28" dur="1" fill="hold">
                                          <p:stCondLst>
                                            <p:cond delay="0"/>
                                          </p:stCondLst>
                                        </p:cTn>
                                        <p:tgtEl>
                                          <p:spTgt spid="105"/>
                                        </p:tgtEl>
                                        <p:attrNameLst>
                                          <p:attrName>style.visibility</p:attrName>
                                        </p:attrNameLst>
                                      </p:cBhvr>
                                      <p:to>
                                        <p:strVal val="visible"/>
                                      </p:to>
                                    </p:set>
                                    <p:animEffect transition="in" filter="fade">
                                      <p:cBhvr>
                                        <p:cTn id="29" dur="500"/>
                                        <p:tgtEl>
                                          <p:spTgt spid="105"/>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12"/>
                                        </p:tgtEl>
                                        <p:attrNameLst>
                                          <p:attrName>style.visibility</p:attrName>
                                        </p:attrNameLst>
                                      </p:cBhvr>
                                      <p:to>
                                        <p:strVal val="visible"/>
                                      </p:to>
                                    </p:set>
                                    <p:animEffect transition="in" filter="fade">
                                      <p:cBhvr>
                                        <p:cTn id="34" dur="500"/>
                                        <p:tgtEl>
                                          <p:spTgt spid="12"/>
                                        </p:tgtEl>
                                      </p:cBhvr>
                                    </p:animEffect>
                                  </p:childTnLst>
                                </p:cTn>
                              </p:par>
                              <p:par>
                                <p:cTn id="35" presetID="10" presetClass="entr" presetSubtype="0" fill="hold" grpId="0" nodeType="withEffect">
                                  <p:stCondLst>
                                    <p:cond delay="500"/>
                                  </p:stCondLst>
                                  <p:childTnLst>
                                    <p:set>
                                      <p:cBhvr>
                                        <p:cTn id="36" dur="1" fill="hold">
                                          <p:stCondLst>
                                            <p:cond delay="0"/>
                                          </p:stCondLst>
                                        </p:cTn>
                                        <p:tgtEl>
                                          <p:spTgt spid="13"/>
                                        </p:tgtEl>
                                        <p:attrNameLst>
                                          <p:attrName>style.visibility</p:attrName>
                                        </p:attrNameLst>
                                      </p:cBhvr>
                                      <p:to>
                                        <p:strVal val="visible"/>
                                      </p:to>
                                    </p:set>
                                    <p:animEffect transition="in" filter="fade">
                                      <p:cBhvr>
                                        <p:cTn id="37" dur="500"/>
                                        <p:tgtEl>
                                          <p:spTgt spid="13"/>
                                        </p:tgtEl>
                                      </p:cBhvr>
                                    </p:animEffect>
                                  </p:childTnLst>
                                </p:cTn>
                              </p:par>
                              <p:par>
                                <p:cTn id="38" presetID="10" presetClass="exit" presetSubtype="0" fill="hold" grpId="1" nodeType="withEffect">
                                  <p:stCondLst>
                                    <p:cond delay="500"/>
                                  </p:stCondLst>
                                  <p:childTnLst>
                                    <p:animEffect transition="out" filter="fade">
                                      <p:cBhvr>
                                        <p:cTn id="39" dur="500"/>
                                        <p:tgtEl>
                                          <p:spTgt spid="7"/>
                                        </p:tgtEl>
                                      </p:cBhvr>
                                    </p:animEffect>
                                    <p:set>
                                      <p:cBhvr>
                                        <p:cTn id="40" dur="1" fill="hold">
                                          <p:stCondLst>
                                            <p:cond delay="499"/>
                                          </p:stCondLst>
                                        </p:cTn>
                                        <p:tgtEl>
                                          <p:spTgt spid="7"/>
                                        </p:tgtEl>
                                        <p:attrNameLst>
                                          <p:attrName>style.visibility</p:attrName>
                                        </p:attrNameLst>
                                      </p:cBhvr>
                                      <p:to>
                                        <p:strVal val="hidden"/>
                                      </p:to>
                                    </p:set>
                                  </p:childTnLst>
                                </p:cTn>
                              </p:par>
                            </p:childTnLst>
                          </p:cTn>
                        </p:par>
                      </p:childTnLst>
                    </p:cTn>
                  </p:par>
                  <p:par>
                    <p:cTn id="41" fill="hold">
                      <p:stCondLst>
                        <p:cond delay="indefinite"/>
                      </p:stCondLst>
                      <p:childTnLst>
                        <p:par>
                          <p:cTn id="42" fill="hold">
                            <p:stCondLst>
                              <p:cond delay="0"/>
                            </p:stCondLst>
                            <p:childTnLst>
                              <p:par>
                                <p:cTn id="43" presetID="22" presetClass="entr" presetSubtype="8" fill="hold" nodeType="clickEffect">
                                  <p:stCondLst>
                                    <p:cond delay="0"/>
                                  </p:stCondLst>
                                  <p:childTnLst>
                                    <p:set>
                                      <p:cBhvr>
                                        <p:cTn id="44" dur="1" fill="hold">
                                          <p:stCondLst>
                                            <p:cond delay="0"/>
                                          </p:stCondLst>
                                        </p:cTn>
                                        <p:tgtEl>
                                          <p:spTgt spid="14"/>
                                        </p:tgtEl>
                                        <p:attrNameLst>
                                          <p:attrName>style.visibility</p:attrName>
                                        </p:attrNameLst>
                                      </p:cBhvr>
                                      <p:to>
                                        <p:strVal val="visible"/>
                                      </p:to>
                                    </p:set>
                                    <p:animEffect transition="in" filter="wipe(left)">
                                      <p:cBhvr>
                                        <p:cTn id="45" dur="500"/>
                                        <p:tgtEl>
                                          <p:spTgt spid="14"/>
                                        </p:tgtEl>
                                      </p:cBhvr>
                                    </p:animEffect>
                                  </p:childTnLst>
                                </p:cTn>
                              </p:par>
                              <p:par>
                                <p:cTn id="46" presetID="22" presetClass="entr" presetSubtype="8" fill="hold" nodeType="withEffect">
                                  <p:stCondLst>
                                    <p:cond delay="0"/>
                                  </p:stCondLst>
                                  <p:childTnLst>
                                    <p:set>
                                      <p:cBhvr>
                                        <p:cTn id="47" dur="1" fill="hold">
                                          <p:stCondLst>
                                            <p:cond delay="0"/>
                                          </p:stCondLst>
                                        </p:cTn>
                                        <p:tgtEl>
                                          <p:spTgt spid="26"/>
                                        </p:tgtEl>
                                        <p:attrNameLst>
                                          <p:attrName>style.visibility</p:attrName>
                                        </p:attrNameLst>
                                      </p:cBhvr>
                                      <p:to>
                                        <p:strVal val="visible"/>
                                      </p:to>
                                    </p:set>
                                    <p:animEffect transition="in" filter="wipe(left)">
                                      <p:cBhvr>
                                        <p:cTn id="48" dur="500"/>
                                        <p:tgtEl>
                                          <p:spTgt spid="26"/>
                                        </p:tgtEl>
                                      </p:cBhvr>
                                    </p:animEffect>
                                  </p:childTnLst>
                                </p:cTn>
                              </p:par>
                              <p:par>
                                <p:cTn id="49" presetID="22" presetClass="entr" presetSubtype="8" fill="hold" nodeType="withEffect">
                                  <p:stCondLst>
                                    <p:cond delay="0"/>
                                  </p:stCondLst>
                                  <p:childTnLst>
                                    <p:set>
                                      <p:cBhvr>
                                        <p:cTn id="50" dur="1" fill="hold">
                                          <p:stCondLst>
                                            <p:cond delay="0"/>
                                          </p:stCondLst>
                                        </p:cTn>
                                        <p:tgtEl>
                                          <p:spTgt spid="40"/>
                                        </p:tgtEl>
                                        <p:attrNameLst>
                                          <p:attrName>style.visibility</p:attrName>
                                        </p:attrNameLst>
                                      </p:cBhvr>
                                      <p:to>
                                        <p:strVal val="visible"/>
                                      </p:to>
                                    </p:set>
                                    <p:animEffect transition="in" filter="wipe(left)">
                                      <p:cBhvr>
                                        <p:cTn id="51" dur="500"/>
                                        <p:tgtEl>
                                          <p:spTgt spid="40"/>
                                        </p:tgtEl>
                                      </p:cBhvr>
                                    </p:animEffect>
                                  </p:childTnLst>
                                </p:cTn>
                              </p:par>
                              <p:par>
                                <p:cTn id="52" presetID="22" presetClass="entr" presetSubtype="8" fill="hold" nodeType="withEffect">
                                  <p:stCondLst>
                                    <p:cond delay="0"/>
                                  </p:stCondLst>
                                  <p:childTnLst>
                                    <p:set>
                                      <p:cBhvr>
                                        <p:cTn id="53" dur="1" fill="hold">
                                          <p:stCondLst>
                                            <p:cond delay="0"/>
                                          </p:stCondLst>
                                        </p:cTn>
                                        <p:tgtEl>
                                          <p:spTgt spid="53"/>
                                        </p:tgtEl>
                                        <p:attrNameLst>
                                          <p:attrName>style.visibility</p:attrName>
                                        </p:attrNameLst>
                                      </p:cBhvr>
                                      <p:to>
                                        <p:strVal val="visible"/>
                                      </p:to>
                                    </p:set>
                                    <p:animEffect transition="in" filter="wipe(left)">
                                      <p:cBhvr>
                                        <p:cTn id="54" dur="500"/>
                                        <p:tgtEl>
                                          <p:spTgt spid="53"/>
                                        </p:tgtEl>
                                      </p:cBhvr>
                                    </p:animEffect>
                                  </p:childTnLst>
                                </p:cTn>
                              </p:par>
                              <p:par>
                                <p:cTn id="55" presetID="22" presetClass="entr" presetSubtype="8" fill="hold" nodeType="withEffect">
                                  <p:stCondLst>
                                    <p:cond delay="0"/>
                                  </p:stCondLst>
                                  <p:childTnLst>
                                    <p:set>
                                      <p:cBhvr>
                                        <p:cTn id="56" dur="1" fill="hold">
                                          <p:stCondLst>
                                            <p:cond delay="0"/>
                                          </p:stCondLst>
                                        </p:cTn>
                                        <p:tgtEl>
                                          <p:spTgt spid="70"/>
                                        </p:tgtEl>
                                        <p:attrNameLst>
                                          <p:attrName>style.visibility</p:attrName>
                                        </p:attrNameLst>
                                      </p:cBhvr>
                                      <p:to>
                                        <p:strVal val="visible"/>
                                      </p:to>
                                    </p:set>
                                    <p:animEffect transition="in" filter="wipe(left)">
                                      <p:cBhvr>
                                        <p:cTn id="57" dur="500"/>
                                        <p:tgtEl>
                                          <p:spTgt spid="70"/>
                                        </p:tgtEl>
                                      </p:cBhvr>
                                    </p:animEffect>
                                  </p:childTnLst>
                                </p:cTn>
                              </p:par>
                              <p:par>
                                <p:cTn id="58" presetID="10" presetClass="entr" presetSubtype="0" fill="hold" grpId="0" nodeType="withEffect">
                                  <p:stCondLst>
                                    <p:cond delay="250"/>
                                  </p:stCondLst>
                                  <p:childTnLst>
                                    <p:set>
                                      <p:cBhvr>
                                        <p:cTn id="59" dur="1" fill="hold">
                                          <p:stCondLst>
                                            <p:cond delay="0"/>
                                          </p:stCondLst>
                                        </p:cTn>
                                        <p:tgtEl>
                                          <p:spTgt spid="66"/>
                                        </p:tgtEl>
                                        <p:attrNameLst>
                                          <p:attrName>style.visibility</p:attrName>
                                        </p:attrNameLst>
                                      </p:cBhvr>
                                      <p:to>
                                        <p:strVal val="visible"/>
                                      </p:to>
                                    </p:set>
                                    <p:animEffect transition="in" filter="fade">
                                      <p:cBhvr>
                                        <p:cTn id="60" dur="250"/>
                                        <p:tgtEl>
                                          <p:spTgt spid="66"/>
                                        </p:tgtEl>
                                      </p:cBhvr>
                                    </p:animEffect>
                                  </p:childTnLst>
                                </p:cTn>
                              </p:par>
                              <p:par>
                                <p:cTn id="61" presetID="10" presetClass="entr" presetSubtype="0" fill="hold" grpId="0" nodeType="withEffect">
                                  <p:stCondLst>
                                    <p:cond delay="250"/>
                                  </p:stCondLst>
                                  <p:childTnLst>
                                    <p:set>
                                      <p:cBhvr>
                                        <p:cTn id="62" dur="1" fill="hold">
                                          <p:stCondLst>
                                            <p:cond delay="0"/>
                                          </p:stCondLst>
                                        </p:cTn>
                                        <p:tgtEl>
                                          <p:spTgt spid="67"/>
                                        </p:tgtEl>
                                        <p:attrNameLst>
                                          <p:attrName>style.visibility</p:attrName>
                                        </p:attrNameLst>
                                      </p:cBhvr>
                                      <p:to>
                                        <p:strVal val="visible"/>
                                      </p:to>
                                    </p:set>
                                    <p:animEffect transition="in" filter="fade">
                                      <p:cBhvr>
                                        <p:cTn id="63" dur="250"/>
                                        <p:tgtEl>
                                          <p:spTgt spid="67"/>
                                        </p:tgtEl>
                                      </p:cBhvr>
                                    </p:animEffect>
                                  </p:childTnLst>
                                </p:cTn>
                              </p:par>
                              <p:par>
                                <p:cTn id="64" presetID="10" presetClass="entr" presetSubtype="0" fill="hold" grpId="0" nodeType="withEffect">
                                  <p:stCondLst>
                                    <p:cond delay="250"/>
                                  </p:stCondLst>
                                  <p:childTnLst>
                                    <p:set>
                                      <p:cBhvr>
                                        <p:cTn id="65" dur="1" fill="hold">
                                          <p:stCondLst>
                                            <p:cond delay="0"/>
                                          </p:stCondLst>
                                        </p:cTn>
                                        <p:tgtEl>
                                          <p:spTgt spid="68"/>
                                        </p:tgtEl>
                                        <p:attrNameLst>
                                          <p:attrName>style.visibility</p:attrName>
                                        </p:attrNameLst>
                                      </p:cBhvr>
                                      <p:to>
                                        <p:strVal val="visible"/>
                                      </p:to>
                                    </p:set>
                                    <p:animEffect transition="in" filter="fade">
                                      <p:cBhvr>
                                        <p:cTn id="66" dur="250"/>
                                        <p:tgtEl>
                                          <p:spTgt spid="68"/>
                                        </p:tgtEl>
                                      </p:cBhvr>
                                    </p:animEffect>
                                  </p:childTnLst>
                                </p:cTn>
                              </p:par>
                              <p:par>
                                <p:cTn id="67" presetID="10" presetClass="entr" presetSubtype="0" fill="hold" grpId="0" nodeType="withEffect">
                                  <p:stCondLst>
                                    <p:cond delay="250"/>
                                  </p:stCondLst>
                                  <p:childTnLst>
                                    <p:set>
                                      <p:cBhvr>
                                        <p:cTn id="68" dur="1" fill="hold">
                                          <p:stCondLst>
                                            <p:cond delay="0"/>
                                          </p:stCondLst>
                                        </p:cTn>
                                        <p:tgtEl>
                                          <p:spTgt spid="69"/>
                                        </p:tgtEl>
                                        <p:attrNameLst>
                                          <p:attrName>style.visibility</p:attrName>
                                        </p:attrNameLst>
                                      </p:cBhvr>
                                      <p:to>
                                        <p:strVal val="visible"/>
                                      </p:to>
                                    </p:set>
                                    <p:animEffect transition="in" filter="fade">
                                      <p:cBhvr>
                                        <p:cTn id="69" dur="250"/>
                                        <p:tgtEl>
                                          <p:spTgt spid="69"/>
                                        </p:tgtEl>
                                      </p:cBhvr>
                                    </p:animEffect>
                                  </p:childTnLst>
                                </p:cTn>
                              </p:par>
                              <p:par>
                                <p:cTn id="70" presetID="10" presetClass="entr" presetSubtype="0" fill="hold" grpId="0" nodeType="withEffect">
                                  <p:stCondLst>
                                    <p:cond delay="250"/>
                                  </p:stCondLst>
                                  <p:childTnLst>
                                    <p:set>
                                      <p:cBhvr>
                                        <p:cTn id="71" dur="1" fill="hold">
                                          <p:stCondLst>
                                            <p:cond delay="0"/>
                                          </p:stCondLst>
                                        </p:cTn>
                                        <p:tgtEl>
                                          <p:spTgt spid="85"/>
                                        </p:tgtEl>
                                        <p:attrNameLst>
                                          <p:attrName>style.visibility</p:attrName>
                                        </p:attrNameLst>
                                      </p:cBhvr>
                                      <p:to>
                                        <p:strVal val="visible"/>
                                      </p:to>
                                    </p:set>
                                    <p:animEffect transition="in" filter="fade">
                                      <p:cBhvr>
                                        <p:cTn id="72" dur="250"/>
                                        <p:tgtEl>
                                          <p:spTgt spid="85"/>
                                        </p:tgtEl>
                                      </p:cBhvr>
                                    </p:animEffect>
                                  </p:childTnLst>
                                </p:cTn>
                              </p:par>
                            </p:childTnLst>
                          </p:cTn>
                        </p:par>
                        <p:par>
                          <p:cTn id="73" fill="hold">
                            <p:stCondLst>
                              <p:cond delay="500"/>
                            </p:stCondLst>
                            <p:childTnLst>
                              <p:par>
                                <p:cTn id="74" presetID="63" presetClass="path" presetSubtype="0" accel="24000" decel="50000" fill="hold" grpId="1" nodeType="afterEffect">
                                  <p:stCondLst>
                                    <p:cond delay="0"/>
                                  </p:stCondLst>
                                  <p:childTnLst>
                                    <p:animMotion origin="layout" path="M 2.5E-6 -4.07407E-6 L 0.09245 -4.07407E-6 " pathEditMode="relative" rAng="0" ptsTypes="AA">
                                      <p:cBhvr>
                                        <p:cTn id="75" dur="750" fill="hold"/>
                                        <p:tgtEl>
                                          <p:spTgt spid="66"/>
                                        </p:tgtEl>
                                        <p:attrNameLst>
                                          <p:attrName>ppt_x</p:attrName>
                                          <p:attrName>ppt_y</p:attrName>
                                        </p:attrNameLst>
                                      </p:cBhvr>
                                      <p:rCtr x="4622" y="0"/>
                                    </p:animMotion>
                                  </p:childTnLst>
                                </p:cTn>
                              </p:par>
                              <p:par>
                                <p:cTn id="76" presetID="63" presetClass="path" presetSubtype="0" accel="24000" decel="50000" fill="hold" grpId="1" nodeType="withEffect">
                                  <p:stCondLst>
                                    <p:cond delay="0"/>
                                  </p:stCondLst>
                                  <p:childTnLst>
                                    <p:animMotion origin="layout" path="M 2.5E-6 -7.40741E-7 L 0.03958 -7.40741E-7 " pathEditMode="relative" rAng="0" ptsTypes="AA">
                                      <p:cBhvr>
                                        <p:cTn id="77" dur="750" fill="hold"/>
                                        <p:tgtEl>
                                          <p:spTgt spid="67"/>
                                        </p:tgtEl>
                                        <p:attrNameLst>
                                          <p:attrName>ppt_x</p:attrName>
                                          <p:attrName>ppt_y</p:attrName>
                                        </p:attrNameLst>
                                      </p:cBhvr>
                                      <p:rCtr x="1979" y="0"/>
                                    </p:animMotion>
                                  </p:childTnLst>
                                </p:cTn>
                              </p:par>
                              <p:par>
                                <p:cTn id="78" presetID="63" presetClass="path" presetSubtype="0" accel="24000" decel="50000" fill="hold" grpId="1" nodeType="withEffect">
                                  <p:stCondLst>
                                    <p:cond delay="0"/>
                                  </p:stCondLst>
                                  <p:childTnLst>
                                    <p:animMotion origin="layout" path="M 2.5E-6 2.59259E-6 L 0.05286 2.59259E-6 " pathEditMode="relative" rAng="0" ptsTypes="AA">
                                      <p:cBhvr>
                                        <p:cTn id="79" dur="750" fill="hold"/>
                                        <p:tgtEl>
                                          <p:spTgt spid="68"/>
                                        </p:tgtEl>
                                        <p:attrNameLst>
                                          <p:attrName>ppt_x</p:attrName>
                                          <p:attrName>ppt_y</p:attrName>
                                        </p:attrNameLst>
                                      </p:cBhvr>
                                      <p:rCtr x="2643" y="0"/>
                                    </p:animMotion>
                                  </p:childTnLst>
                                </p:cTn>
                              </p:par>
                              <p:par>
                                <p:cTn id="80" presetID="63" presetClass="path" presetSubtype="0" accel="24000" decel="50000" fill="hold" grpId="1" nodeType="withEffect">
                                  <p:stCondLst>
                                    <p:cond delay="0"/>
                                  </p:stCondLst>
                                  <p:childTnLst>
                                    <p:animMotion origin="layout" path="M 2.5E-6 -4.07407E-6 L 0.02643 -4.07407E-6 " pathEditMode="relative" rAng="0" ptsTypes="AA">
                                      <p:cBhvr>
                                        <p:cTn id="81" dur="750" fill="hold"/>
                                        <p:tgtEl>
                                          <p:spTgt spid="69"/>
                                        </p:tgtEl>
                                        <p:attrNameLst>
                                          <p:attrName>ppt_x</p:attrName>
                                          <p:attrName>ppt_y</p:attrName>
                                        </p:attrNameLst>
                                      </p:cBhvr>
                                      <p:rCtr x="1315" y="0"/>
                                    </p:animMotion>
                                  </p:childTnLst>
                                </p:cTn>
                              </p:par>
                              <p:par>
                                <p:cTn id="82" presetID="63" presetClass="path" presetSubtype="0" accel="24000" decel="50000" fill="hold" grpId="1" nodeType="withEffect">
                                  <p:stCondLst>
                                    <p:cond delay="0"/>
                                  </p:stCondLst>
                                  <p:childTnLst>
                                    <p:animMotion origin="layout" path="M 2.5E-6 -3.7037E-7 L 0.07916 -3.7037E-7 " pathEditMode="relative" rAng="0" ptsTypes="AA">
                                      <p:cBhvr>
                                        <p:cTn id="83" dur="750" fill="hold"/>
                                        <p:tgtEl>
                                          <p:spTgt spid="85"/>
                                        </p:tgtEl>
                                        <p:attrNameLst>
                                          <p:attrName>ppt_x</p:attrName>
                                          <p:attrName>ppt_y</p:attrName>
                                        </p:attrNameLst>
                                      </p:cBhvr>
                                      <p:rCtr x="3958" y="0"/>
                                    </p:animMotion>
                                  </p:childTnLst>
                                </p:cTn>
                              </p:par>
                            </p:childTnLst>
                          </p:cTn>
                        </p:par>
                        <p:par>
                          <p:cTn id="84" fill="hold">
                            <p:stCondLst>
                              <p:cond delay="1250"/>
                            </p:stCondLst>
                            <p:childTnLst>
                              <p:par>
                                <p:cTn id="85" presetID="12" presetClass="entr" presetSubtype="8" fill="hold" grpId="0" nodeType="afterEffect">
                                  <p:stCondLst>
                                    <p:cond delay="0"/>
                                  </p:stCondLst>
                                  <p:childTnLst>
                                    <p:set>
                                      <p:cBhvr>
                                        <p:cTn id="86" dur="1" fill="hold">
                                          <p:stCondLst>
                                            <p:cond delay="0"/>
                                          </p:stCondLst>
                                        </p:cTn>
                                        <p:tgtEl>
                                          <p:spTgt spid="75"/>
                                        </p:tgtEl>
                                        <p:attrNameLst>
                                          <p:attrName>style.visibility</p:attrName>
                                        </p:attrNameLst>
                                      </p:cBhvr>
                                      <p:to>
                                        <p:strVal val="visible"/>
                                      </p:to>
                                    </p:set>
                                    <p:anim calcmode="lin" valueType="num">
                                      <p:cBhvr additive="base">
                                        <p:cTn id="87" dur="500"/>
                                        <p:tgtEl>
                                          <p:spTgt spid="75"/>
                                        </p:tgtEl>
                                        <p:attrNameLst>
                                          <p:attrName>ppt_x</p:attrName>
                                        </p:attrNameLst>
                                      </p:cBhvr>
                                      <p:tavLst>
                                        <p:tav tm="0">
                                          <p:val>
                                            <p:strVal val="#ppt_x-#ppt_w*1.125000"/>
                                          </p:val>
                                        </p:tav>
                                        <p:tav tm="100000">
                                          <p:val>
                                            <p:strVal val="#ppt_x"/>
                                          </p:val>
                                        </p:tav>
                                      </p:tavLst>
                                    </p:anim>
                                    <p:animEffect transition="in" filter="wipe(right)">
                                      <p:cBhvr>
                                        <p:cTn id="88" dur="500"/>
                                        <p:tgtEl>
                                          <p:spTgt spid="75"/>
                                        </p:tgtEl>
                                      </p:cBhvr>
                                    </p:animEffect>
                                  </p:childTnLst>
                                </p:cTn>
                              </p:par>
                            </p:childTnLst>
                          </p:cTn>
                        </p:par>
                        <p:par>
                          <p:cTn id="89" fill="hold">
                            <p:stCondLst>
                              <p:cond delay="1750"/>
                            </p:stCondLst>
                            <p:childTnLst>
                              <p:par>
                                <p:cTn id="90" presetID="22" presetClass="entr" presetSubtype="8" fill="hold" grpId="0" nodeType="afterEffect">
                                  <p:stCondLst>
                                    <p:cond delay="0"/>
                                  </p:stCondLst>
                                  <p:childTnLst>
                                    <p:set>
                                      <p:cBhvr>
                                        <p:cTn id="91" dur="1" fill="hold">
                                          <p:stCondLst>
                                            <p:cond delay="0"/>
                                          </p:stCondLst>
                                        </p:cTn>
                                        <p:tgtEl>
                                          <p:spTgt spid="73"/>
                                        </p:tgtEl>
                                        <p:attrNameLst>
                                          <p:attrName>style.visibility</p:attrName>
                                        </p:attrNameLst>
                                      </p:cBhvr>
                                      <p:to>
                                        <p:strVal val="visible"/>
                                      </p:to>
                                    </p:set>
                                    <p:animEffect transition="in" filter="wipe(left)">
                                      <p:cBhvr>
                                        <p:cTn id="92" dur="500"/>
                                        <p:tgtEl>
                                          <p:spTgt spid="73"/>
                                        </p:tgtEl>
                                      </p:cBhvr>
                                    </p:animEffect>
                                  </p:childTnLst>
                                </p:cTn>
                              </p:par>
                              <p:par>
                                <p:cTn id="93" presetID="22" presetClass="entr" presetSubtype="8" fill="hold" grpId="0" nodeType="withEffect">
                                  <p:stCondLst>
                                    <p:cond delay="0"/>
                                  </p:stCondLst>
                                  <p:childTnLst>
                                    <p:set>
                                      <p:cBhvr>
                                        <p:cTn id="94" dur="1" fill="hold">
                                          <p:stCondLst>
                                            <p:cond delay="0"/>
                                          </p:stCondLst>
                                        </p:cTn>
                                        <p:tgtEl>
                                          <p:spTgt spid="74"/>
                                        </p:tgtEl>
                                        <p:attrNameLst>
                                          <p:attrName>style.visibility</p:attrName>
                                        </p:attrNameLst>
                                      </p:cBhvr>
                                      <p:to>
                                        <p:strVal val="visible"/>
                                      </p:to>
                                    </p:set>
                                    <p:animEffect transition="in" filter="wipe(left)">
                                      <p:cBhvr>
                                        <p:cTn id="95" dur="500"/>
                                        <p:tgtEl>
                                          <p:spTgt spid="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7" grpId="1"/>
      <p:bldP spid="9" grpId="0"/>
      <p:bldP spid="11" grpId="0" animBg="1"/>
      <p:bldP spid="12" grpId="0" animBg="1"/>
      <p:bldP spid="13" grpId="0"/>
      <p:bldP spid="66" grpId="0" animBg="1"/>
      <p:bldP spid="66" grpId="1" animBg="1"/>
      <p:bldP spid="67" grpId="0" animBg="1"/>
      <p:bldP spid="67" grpId="1" animBg="1"/>
      <p:bldP spid="68" grpId="0" animBg="1"/>
      <p:bldP spid="68" grpId="1" animBg="1"/>
      <p:bldP spid="69" grpId="0" animBg="1"/>
      <p:bldP spid="69" grpId="1" animBg="1"/>
      <p:bldP spid="73" grpId="0" animBg="1"/>
      <p:bldP spid="74" grpId="0"/>
      <p:bldP spid="75" grpId="0" animBg="1"/>
      <p:bldP spid="104" grpId="0" animBg="1"/>
      <p:bldP spid="105" grpId="0" animBg="1"/>
      <p:bldP spid="85" grpId="0" animBg="1"/>
      <p:bldP spid="85" grpId="1"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Blue">
      <a:dk1>
        <a:sysClr val="windowText" lastClr="000000"/>
      </a:dk1>
      <a:lt1>
        <a:sysClr val="window" lastClr="FFFFFF"/>
      </a:lt1>
      <a:dk2>
        <a:srgbClr val="17406D"/>
      </a:dk2>
      <a:lt2>
        <a:srgbClr val="DBEFF9"/>
      </a:lt2>
      <a:accent1>
        <a:srgbClr val="0F6FC6"/>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AE6F2518-B084-4896-AF52-66CC2144AA26}"/>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ediaServiceKeyPoints xmlns="e7bbd3b9-a267-4983-bb7f-f5a1bce1ef3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156E032D9A797442991B78620DD9E801" ma:contentTypeVersion="11" ma:contentTypeDescription="Create a new document." ma:contentTypeScope="" ma:versionID="0ea5a3947310bae4a53893e0af498c75">
  <xsd:schema xmlns:xsd="http://www.w3.org/2001/XMLSchema" xmlns:xs="http://www.w3.org/2001/XMLSchema" xmlns:p="http://schemas.microsoft.com/office/2006/metadata/properties" xmlns:ns2="e7bbd3b9-a267-4983-bb7f-f5a1bce1ef33" xmlns:ns3="6c1f7248-2c39-4fa6-918c-cd0eba53a27b" targetNamespace="http://schemas.microsoft.com/office/2006/metadata/properties" ma:root="true" ma:fieldsID="9636413fb4fe8076487056de5f243d5a" ns2:_="" ns3:_="">
    <xsd:import namespace="e7bbd3b9-a267-4983-bb7f-f5a1bce1ef33"/>
    <xsd:import namespace="6c1f7248-2c39-4fa6-918c-cd0eba53a27b"/>
    <xsd:element name="properties">
      <xsd:complexType>
        <xsd:sequence>
          <xsd:element name="documentManagement">
            <xsd:complexType>
              <xsd:all>
                <xsd:element ref="ns2:MediaServiceMetadata" minOccurs="0"/>
                <xsd:element ref="ns2:MediaServiceFastMetadata" minOccurs="0"/>
                <xsd:element ref="ns2:MediaServiceEventHashCode" minOccurs="0"/>
                <xsd:element ref="ns2:MediaServiceGenerationTime" minOccurs="0"/>
                <xsd:element ref="ns3:SharedWithUsers" minOccurs="0"/>
                <xsd:element ref="ns3:SharedWithDetails" minOccurs="0"/>
                <xsd:element ref="ns2:MediaServiceDateTaken" minOccurs="0"/>
                <xsd:element ref="ns2:MediaServiceAutoKeyPoints" minOccurs="0"/>
                <xsd:element ref="ns2:MediaServiceKeyPoints" minOccurs="0"/>
                <xsd:element ref="ns2:MediaServiceAutoTags"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7bbd3b9-a267-4983-bb7f-f5a1bce1ef3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EventHashCode" ma:index="10" nillable="true" ma:displayName="MediaServiceEventHashCode" ma:hidden="true" ma:internalName="MediaServiceEventHashCode"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false">
      <xsd:simpleType>
        <xsd:restriction base="dms:Note">
          <xsd:maxLength value="255"/>
        </xsd:restriction>
      </xsd:simpleType>
    </xsd:element>
    <xsd:element name="MediaServiceAutoTags" ma:index="17" nillable="true" ma:displayName="Tags" ma:internalName="MediaServiceAutoTags"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6c1f7248-2c39-4fa6-918c-cd0eba53a27b"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F8EB0AE-F068-471B-AAEF-FCC24B70FCB2}">
  <ds:schemaRefs>
    <ds:schemaRef ds:uri="http://schemas.openxmlformats.org/package/2006/metadata/core-properties"/>
    <ds:schemaRef ds:uri="http://schemas.microsoft.com/office/infopath/2007/PartnerControls"/>
    <ds:schemaRef ds:uri="http://purl.org/dc/terms/"/>
    <ds:schemaRef ds:uri="http://purl.org/dc/dcmitype/"/>
    <ds:schemaRef ds:uri="http://schemas.microsoft.com/office/2006/documentManagement/types"/>
    <ds:schemaRef ds:uri="http://purl.org/dc/elements/1.1/"/>
    <ds:schemaRef ds:uri="http://schemas.microsoft.com/office/2006/metadata/properties"/>
    <ds:schemaRef ds:uri="6c1f7248-2c39-4fa6-918c-cd0eba53a27b"/>
    <ds:schemaRef ds:uri="e7bbd3b9-a267-4983-bb7f-f5a1bce1ef33"/>
    <ds:schemaRef ds:uri="http://www.w3.org/XML/1998/namespace"/>
  </ds:schemaRefs>
</ds:datastoreItem>
</file>

<file path=customXml/itemProps2.xml><?xml version="1.0" encoding="utf-8"?>
<ds:datastoreItem xmlns:ds="http://schemas.openxmlformats.org/officeDocument/2006/customXml" ds:itemID="{4001B301-365F-432E-839B-04671F4E5A6A}">
  <ds:schemaRefs>
    <ds:schemaRef ds:uri="http://schemas.microsoft.com/sharepoint/v3/contenttype/forms"/>
  </ds:schemaRefs>
</ds:datastoreItem>
</file>

<file path=customXml/itemProps3.xml><?xml version="1.0" encoding="utf-8"?>
<ds:datastoreItem xmlns:ds="http://schemas.openxmlformats.org/officeDocument/2006/customXml" ds:itemID="{27E561C7-CBE3-48FC-9310-AF45B52A8D1E}"/>
</file>

<file path=docProps/app.xml><?xml version="1.0" encoding="utf-8"?>
<Properties xmlns="http://schemas.openxmlformats.org/officeDocument/2006/extended-properties" xmlns:vt="http://schemas.openxmlformats.org/officeDocument/2006/docPropsVTypes">
  <TotalTime>185</TotalTime>
  <Words>1322</Words>
  <Application>Microsoft Office PowerPoint</Application>
  <PresentationFormat>Widescreen</PresentationFormat>
  <Paragraphs>310</Paragraphs>
  <Slides>22</Slides>
  <Notes>12</Notes>
  <HiddenSlides>0</HiddenSlides>
  <MMClips>0</MMClips>
  <ScaleCrop>false</ScaleCrop>
  <HeadingPairs>
    <vt:vector size="8" baseType="variant">
      <vt:variant>
        <vt:lpstr>Fonts Used</vt:lpstr>
      </vt:variant>
      <vt:variant>
        <vt:i4>13</vt:i4>
      </vt:variant>
      <vt:variant>
        <vt:lpstr>Theme</vt:lpstr>
      </vt:variant>
      <vt:variant>
        <vt:i4>2</vt:i4>
      </vt:variant>
      <vt:variant>
        <vt:lpstr>Embedded OLE Servers</vt:lpstr>
      </vt:variant>
      <vt:variant>
        <vt:i4>1</vt:i4>
      </vt:variant>
      <vt:variant>
        <vt:lpstr>Slide Titles</vt:lpstr>
      </vt:variant>
      <vt:variant>
        <vt:i4>22</vt:i4>
      </vt:variant>
    </vt:vector>
  </HeadingPairs>
  <TitlesOfParts>
    <vt:vector size="38" baseType="lpstr">
      <vt:lpstr>Arial</vt:lpstr>
      <vt:lpstr>Calibri</vt:lpstr>
      <vt:lpstr>Calibri Light</vt:lpstr>
      <vt:lpstr>Helvetica Neue Light</vt:lpstr>
      <vt:lpstr>linea-arrows-10</vt:lpstr>
      <vt:lpstr>Roboto Light</vt:lpstr>
      <vt:lpstr>Roboto Medium</vt:lpstr>
      <vt:lpstr>Segoe UI</vt:lpstr>
      <vt:lpstr>Segoe UI Light</vt:lpstr>
      <vt:lpstr>Segoe UI Semibold</vt:lpstr>
      <vt:lpstr>Segoe UI Semilight</vt:lpstr>
      <vt:lpstr>Source Sans Pro</vt:lpstr>
      <vt:lpstr>Times New Roman</vt:lpstr>
      <vt:lpstr>Office Theme</vt:lpstr>
      <vt:lpstr>2_Office Theme</vt:lpstr>
      <vt:lpstr>think-cell Slide</vt:lpstr>
      <vt:lpstr>PowerPoint Presentation</vt:lpstr>
      <vt:lpstr>Agenda</vt:lpstr>
      <vt:lpstr>Welcome Video</vt:lpstr>
      <vt:lpstr>Mission</vt:lpstr>
      <vt:lpstr>PowerPoint Presentation</vt:lpstr>
      <vt:lpstr>Automated ML Capabilities </vt:lpstr>
      <vt:lpstr>Machine Learning Process</vt:lpstr>
      <vt:lpstr>Machine Learning Problem Example </vt:lpstr>
      <vt:lpstr>Model Creation Is Typically Time-Consuming</vt:lpstr>
      <vt:lpstr>Model Creation Is Typically Time-Consuming</vt:lpstr>
      <vt:lpstr>Model Creation Is Typically Time-Consuming</vt:lpstr>
      <vt:lpstr>Automated ML Accelerates Model Development </vt:lpstr>
      <vt:lpstr>Automated ML</vt:lpstr>
      <vt:lpstr>PowerPoint Presentation</vt:lpstr>
      <vt:lpstr>Automated ML Customer Testimonials </vt:lpstr>
      <vt:lpstr>Automated ML Capabilities </vt:lpstr>
      <vt:lpstr>PowerPoint Presentation</vt:lpstr>
      <vt:lpstr>Preview Features Updates</vt:lpstr>
      <vt:lpstr>Workshop</vt:lpstr>
      <vt:lpstr>1. Select your workshop sample &gt; Energy Demand : aka.ms/GlobalAINotebook &gt; NASA Predictive Maintaince : aka.ms/GlobalAINotebook1 </vt:lpstr>
      <vt:lpstr>Resources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ilesh Acharya</dc:creator>
  <cp:lastModifiedBy>Nilesh Acharya</cp:lastModifiedBy>
  <cp:revision>1</cp:revision>
  <dcterms:created xsi:type="dcterms:W3CDTF">2019-03-01T23:55:08Z</dcterms:created>
  <dcterms:modified xsi:type="dcterms:W3CDTF">2019-03-14T16:52: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uthorIds_UIVersion_6144">
    <vt:lpwstr>6</vt:lpwstr>
  </property>
  <property fmtid="{D5CDD505-2E9C-101B-9397-08002B2CF9AE}" pid="3" name="ContentTypeId">
    <vt:lpwstr>0x010100156E032D9A797442991B78620DD9E801</vt:lpwstr>
  </property>
</Properties>
</file>